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wav" ContentType="audio/x-wav"/>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20"/>
  </p:notesMasterIdLst>
  <p:sldIdLst>
    <p:sldId id="256" r:id="rId3"/>
    <p:sldId id="269" r:id="rId4"/>
    <p:sldId id="258" r:id="rId5"/>
    <p:sldId id="270" r:id="rId6"/>
    <p:sldId id="271" r:id="rId7"/>
    <p:sldId id="275" r:id="rId8"/>
    <p:sldId id="277" r:id="rId9"/>
    <p:sldId id="278" r:id="rId10"/>
    <p:sldId id="281" r:id="rId11"/>
    <p:sldId id="282" r:id="rId12"/>
    <p:sldId id="287" r:id="rId13"/>
    <p:sldId id="289" r:id="rId14"/>
    <p:sldId id="288" r:id="rId15"/>
    <p:sldId id="272" r:id="rId16"/>
    <p:sldId id="279" r:id="rId17"/>
    <p:sldId id="280" r:id="rId18"/>
    <p:sldId id="261" r:id="rId19"/>
  </p:sldIdLst>
  <p:sldSz cx="12192000" cy="6858000"/>
  <p:notesSz cx="6858000" cy="9144000"/>
  <p:custDataLst>
    <p:tags r:id="rId24"/>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5175"/>
    <a:srgbClr val="E4ECED"/>
    <a:srgbClr val="857169"/>
    <a:srgbClr val="366796"/>
    <a:srgbClr val="9FBAD1"/>
    <a:srgbClr val="5E2F19"/>
    <a:srgbClr val="2A2833"/>
    <a:srgbClr val="EEF1EB"/>
    <a:srgbClr val="D4E2E2"/>
    <a:srgbClr val="523B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8" autoAdjust="0"/>
    <p:restoredTop sz="96201" autoAdjust="0"/>
  </p:normalViewPr>
  <p:slideViewPr>
    <p:cSldViewPr snapToGrid="0">
      <p:cViewPr varScale="1">
        <p:scale>
          <a:sx n="78" d="100"/>
          <a:sy n="78" d="100"/>
        </p:scale>
        <p:origin x="86" y="245"/>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8" Type="http://schemas.openxmlformats.org/officeDocument/2006/relationships/slide" Target="slides/slide6.xml"/><Relationship Id="rId7" Type="http://schemas.openxmlformats.org/officeDocument/2006/relationships/slide" Target="slides/slide5.xml"/><Relationship Id="rId6" Type="http://schemas.openxmlformats.org/officeDocument/2006/relationships/slide" Target="slides/slide4.xml"/><Relationship Id="rId5" Type="http://schemas.openxmlformats.org/officeDocument/2006/relationships/slide" Target="slides/slide3.xml"/><Relationship Id="rId4" Type="http://schemas.openxmlformats.org/officeDocument/2006/relationships/slide" Target="slides/slide2.xml"/><Relationship Id="rId3" Type="http://schemas.openxmlformats.org/officeDocument/2006/relationships/slide" Target="slides/slide1.xml"/><Relationship Id="rId24" Type="http://schemas.openxmlformats.org/officeDocument/2006/relationships/tags" Target="tags/tag24.xml"/><Relationship Id="rId23" Type="http://schemas.openxmlformats.org/officeDocument/2006/relationships/tableStyles" Target="tableStyles.xml"/><Relationship Id="rId22" Type="http://schemas.openxmlformats.org/officeDocument/2006/relationships/viewProps" Target="viewProps.xml"/><Relationship Id="rId21" Type="http://schemas.openxmlformats.org/officeDocument/2006/relationships/presProps" Target="presProps.xml"/><Relationship Id="rId20" Type="http://schemas.openxmlformats.org/officeDocument/2006/relationships/notesMaster" Target="notesMasters/notesMaster1.xml"/><Relationship Id="rId2" Type="http://schemas.openxmlformats.org/officeDocument/2006/relationships/theme" Target="theme/theme1.xml"/><Relationship Id="rId19" Type="http://schemas.openxmlformats.org/officeDocument/2006/relationships/slide" Target="slides/slide17.xml"/><Relationship Id="rId18" Type="http://schemas.openxmlformats.org/officeDocument/2006/relationships/slide" Target="slides/slide16.xml"/><Relationship Id="rId17" Type="http://schemas.openxmlformats.org/officeDocument/2006/relationships/slide" Target="slides/slide15.xml"/><Relationship Id="rId16" Type="http://schemas.openxmlformats.org/officeDocument/2006/relationships/slide" Target="slides/slide14.xml"/><Relationship Id="rId15" Type="http://schemas.openxmlformats.org/officeDocument/2006/relationships/slide" Target="slides/slide13.xml"/><Relationship Id="rId14" Type="http://schemas.openxmlformats.org/officeDocument/2006/relationships/slide" Target="slides/slide12.xml"/><Relationship Id="rId13" Type="http://schemas.openxmlformats.org/officeDocument/2006/relationships/slide" Target="slides/slide11.xml"/><Relationship Id="rId12" Type="http://schemas.openxmlformats.org/officeDocument/2006/relationships/slide" Target="slides/slide10.xml"/><Relationship Id="rId11" Type="http://schemas.openxmlformats.org/officeDocument/2006/relationships/slide" Target="slides/slide9.xml"/><Relationship Id="rId10" Type="http://schemas.openxmlformats.org/officeDocument/2006/relationships/slide" Target="slides/slide8.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showMasterSp="0" userDrawn="1">
  <p:cSld name="标题幻灯片">
    <p:spTree>
      <p:nvGrpSpPr>
        <p:cNvPr id="1" name=""/>
        <p:cNvGrpSpPr/>
        <p:nvPr/>
      </p:nvGrpSpPr>
      <p:grpSpPr>
        <a:xfrm>
          <a:off x="0" y="0"/>
          <a:ext cx="0" cy="0"/>
          <a:chOff x="0" y="0"/>
          <a:chExt cx="0" cy="0"/>
        </a:xfrm>
      </p:grpSpPr>
      <p:sp>
        <p:nvSpPr>
          <p:cNvPr id="4" name="矩形 3"/>
          <p:cNvSpPr/>
          <p:nvPr userDrawn="1"/>
        </p:nvSpPr>
        <p:spPr>
          <a:xfrm>
            <a:off x="0" y="0"/>
            <a:ext cx="12192000" cy="6858000"/>
          </a:xfrm>
          <a:prstGeom prst="rect">
            <a:avLst/>
          </a:prstGeom>
          <a:blipFill>
            <a:blip r:embed="rId2">
              <a:alphaModFix amt="41000"/>
            </a:blip>
            <a:srcRect/>
            <a:stretch>
              <a:fillRect t="-9245" b="-924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圆: 空心 1"/>
          <p:cNvSpPr/>
          <p:nvPr userDrawn="1"/>
        </p:nvSpPr>
        <p:spPr>
          <a:xfrm>
            <a:off x="2808071" y="264943"/>
            <a:ext cx="6391373" cy="6391373"/>
          </a:xfrm>
          <a:prstGeom prst="donut">
            <a:avLst>
              <a:gd name="adj" fmla="val 15148"/>
            </a:avLst>
          </a:prstGeom>
          <a:blipFill dpi="0" rotWithShape="1">
            <a:blip r:embed="rId2">
              <a:alphaModFix amt="41000"/>
            </a:blip>
            <a:srcRect/>
            <a:stretch>
              <a:fillRect l="-25018" r="-25018"/>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9801" name="副标题 2"/>
          <p:cNvSpPr>
            <a:spLocks noGrp="1"/>
          </p:cNvSpPr>
          <p:nvPr userDrawn="1">
            <p:ph type="subTitle" idx="1"/>
          </p:nvPr>
        </p:nvSpPr>
        <p:spPr>
          <a:xfrm>
            <a:off x="3463880" y="3337059"/>
            <a:ext cx="5079756" cy="434625"/>
          </a:xfrm>
        </p:spPr>
        <p:txBody>
          <a:bodyPr anchor="ctr">
            <a:normAutofit/>
          </a:bodyPr>
          <a:lstStyle>
            <a:lvl1pPr marL="0" indent="0" algn="ctr">
              <a:buNone/>
              <a:defRPr sz="18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US" dirty="0"/>
          </a:p>
        </p:txBody>
      </p:sp>
      <p:sp>
        <p:nvSpPr>
          <p:cNvPr id="9802" name="标题 1"/>
          <p:cNvSpPr>
            <a:spLocks noGrp="1"/>
          </p:cNvSpPr>
          <p:nvPr userDrawn="1">
            <p:ph type="ctrTitle"/>
          </p:nvPr>
        </p:nvSpPr>
        <p:spPr>
          <a:xfrm>
            <a:off x="3463880" y="2152074"/>
            <a:ext cx="5079756" cy="1180374"/>
          </a:xfrm>
        </p:spPr>
        <p:txBody>
          <a:bodyPr anchor="ctr">
            <a:noAutofit/>
          </a:bodyPr>
          <a:lstStyle>
            <a:lvl1pPr algn="ctr">
              <a:defRPr sz="4000">
                <a:solidFill>
                  <a:schemeClr val="accent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3463880" y="4223418"/>
            <a:ext cx="5079756" cy="296271"/>
          </a:xfrm>
        </p:spPr>
        <p:txBody>
          <a:bodyPr vert="horz" anchor="ctr">
            <a:noAutofit/>
          </a:bodyPr>
          <a:lstStyle>
            <a:lvl1pPr marL="0" indent="0" algn="ctr">
              <a:buNone/>
              <a:defRPr sz="1500" b="0">
                <a:solidFill>
                  <a:srgbClr val="29517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endParaRPr lang="en-US" altLang="zh-CN" dirty="0"/>
          </a:p>
        </p:txBody>
      </p:sp>
      <p:sp>
        <p:nvSpPr>
          <p:cNvPr id="13" name="文本占位符 13"/>
          <p:cNvSpPr>
            <a:spLocks noGrp="1"/>
          </p:cNvSpPr>
          <p:nvPr userDrawn="1">
            <p:ph type="body" sz="quarter" idx="11" hasCustomPrompt="1"/>
          </p:nvPr>
        </p:nvSpPr>
        <p:spPr>
          <a:xfrm>
            <a:off x="3463880" y="4519689"/>
            <a:ext cx="5079756" cy="296271"/>
          </a:xfrm>
        </p:spPr>
        <p:txBody>
          <a:bodyPr vert="horz" anchor="ctr">
            <a:noAutofit/>
          </a:bodyPr>
          <a:lstStyle>
            <a:lvl1pPr marL="0" indent="0" algn="ctr">
              <a:buNone/>
              <a:defRPr sz="1500" b="0">
                <a:solidFill>
                  <a:srgbClr val="29517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Date</a:t>
            </a:r>
            <a:endParaRPr lang="zh-CN" alt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showMasterSp="0" userDrawn="1">
  <p:cSld name="节标题">
    <p:spTree>
      <p:nvGrpSpPr>
        <p:cNvPr id="1" name=""/>
        <p:cNvGrpSpPr/>
        <p:nvPr/>
      </p:nvGrpSpPr>
      <p:grpSpPr>
        <a:xfrm>
          <a:off x="0" y="0"/>
          <a:ext cx="0" cy="0"/>
          <a:chOff x="0" y="0"/>
          <a:chExt cx="0" cy="0"/>
        </a:xfrm>
      </p:grpSpPr>
      <p:sp>
        <p:nvSpPr>
          <p:cNvPr id="13" name="圆: 空心 12"/>
          <p:cNvSpPr/>
          <p:nvPr userDrawn="1"/>
        </p:nvSpPr>
        <p:spPr>
          <a:xfrm>
            <a:off x="2808071" y="264943"/>
            <a:ext cx="6391373" cy="6391373"/>
          </a:xfrm>
          <a:prstGeom prst="donut">
            <a:avLst>
              <a:gd name="adj" fmla="val 1514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0" name="标题 1"/>
          <p:cNvSpPr>
            <a:spLocks noGrp="1"/>
          </p:cNvSpPr>
          <p:nvPr userDrawn="1">
            <p:ph type="title"/>
          </p:nvPr>
        </p:nvSpPr>
        <p:spPr>
          <a:xfrm>
            <a:off x="3291157" y="2994300"/>
            <a:ext cx="5419185" cy="895350"/>
          </a:xfrm>
        </p:spPr>
        <p:txBody>
          <a:bodyPr anchor="b">
            <a:normAutofit/>
          </a:bodyPr>
          <a:lstStyle>
            <a:lvl1pPr algn="ctr">
              <a:defRPr sz="2400" b="1">
                <a:solidFill>
                  <a:schemeClr val="accent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3291157" y="3889650"/>
            <a:ext cx="5419185" cy="1015623"/>
          </a:xfrm>
        </p:spPr>
        <p:txBody>
          <a:bodyPr anchor="t">
            <a:normAutofit/>
          </a:bodyPr>
          <a:lstStyle>
            <a:lvl1pPr marL="0" indent="0" algn="ctr">
              <a:lnSpc>
                <a:spcPct val="100000"/>
              </a:lnSpc>
              <a:buNone/>
              <a:defRPr sz="11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6489D9C7-5DC6-4263-87FF-7C99F6FB63C3}" type="datetime1">
              <a:rPr lang="zh-CN" altLang="en-US" smtClean="0"/>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6" name="标题 5"/>
          <p:cNvSpPr>
            <a:spLocks noGrp="1"/>
          </p:cNvSpPr>
          <p:nvPr>
            <p:ph type="title"/>
          </p:nvPr>
        </p:nvSpPr>
        <p:spPr/>
        <p:txBody>
          <a:bodyPr/>
          <a:lstStyle>
            <a:lvl1pPr>
              <a:defRPr/>
            </a:lvl1pPr>
          </a:lstStyle>
          <a:p>
            <a:r>
              <a:rPr lang="en-US" altLang="zh-CN" dirty="0"/>
              <a:t>Click to edit Master title style</a:t>
            </a:r>
            <a:endParaRPr lang="zh-CN" altLang="en-US" dirty="0"/>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endParaRPr lang="en-US" altLang="zh-CN" dirty="0"/>
          </a:p>
          <a:p>
            <a:pPr lvl="1"/>
            <a:r>
              <a:rPr lang="en-US" altLang="zh-CN" dirty="0"/>
              <a:t>Second level</a:t>
            </a:r>
            <a:endParaRPr lang="en-US" altLang="zh-CN" dirty="0"/>
          </a:p>
          <a:p>
            <a:pPr lvl="2"/>
            <a:r>
              <a:rPr lang="en-US" altLang="zh-CN" dirty="0"/>
              <a:t>Third level</a:t>
            </a:r>
            <a:endParaRPr lang="en-US" altLang="zh-CN" dirty="0"/>
          </a:p>
          <a:p>
            <a:pPr lvl="3"/>
            <a:r>
              <a:rPr lang="en-US" altLang="zh-CN" dirty="0"/>
              <a:t>Fourth level</a:t>
            </a:r>
            <a:endParaRPr lang="en-US" altLang="zh-CN" dirty="0"/>
          </a:p>
          <a:p>
            <a:pPr lvl="4"/>
            <a:r>
              <a:rPr lang="en-US" altLang="zh-CN" dirty="0"/>
              <a:t>Fifth level</a:t>
            </a:r>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Date Placeholder 2"/>
          <p:cNvSpPr>
            <a:spLocks noGrp="1"/>
          </p:cNvSpPr>
          <p:nvPr>
            <p:ph type="dt" sz="half" idx="10"/>
          </p:nvPr>
        </p:nvSpPr>
        <p:spPr/>
        <p:txBody>
          <a:bodyPr/>
          <a:lstStyle/>
          <a:p>
            <a:fld id="{6489D9C7-5DC6-4263-87FF-7C99F6FB63C3}" type="datetime1">
              <a:rPr lang="zh-CN" altLang="en-US" smtClean="0"/>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dirty="0"/>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showMasterSp="0">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showMasterSp="0" userDrawn="1">
  <p:cSld name="末尾幻灯片">
    <p:spTree>
      <p:nvGrpSpPr>
        <p:cNvPr id="1" name=""/>
        <p:cNvGrpSpPr/>
        <p:nvPr/>
      </p:nvGrpSpPr>
      <p:grpSpPr>
        <a:xfrm>
          <a:off x="0" y="0"/>
          <a:ext cx="0" cy="0"/>
          <a:chOff x="0" y="0"/>
          <a:chExt cx="0" cy="0"/>
        </a:xfrm>
      </p:grpSpPr>
      <p:sp>
        <p:nvSpPr>
          <p:cNvPr id="23" name="矩形 22"/>
          <p:cNvSpPr/>
          <p:nvPr userDrawn="1"/>
        </p:nvSpPr>
        <p:spPr>
          <a:xfrm>
            <a:off x="0" y="0"/>
            <a:ext cx="12192000" cy="6858000"/>
          </a:xfrm>
          <a:prstGeom prst="rect">
            <a:avLst/>
          </a:prstGeom>
          <a:solidFill>
            <a:srgbClr val="E4ECED">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标题 1"/>
          <p:cNvSpPr>
            <a:spLocks noGrp="1"/>
          </p:cNvSpPr>
          <p:nvPr userDrawn="1">
            <p:ph type="ctrTitle" hasCustomPrompt="1"/>
          </p:nvPr>
        </p:nvSpPr>
        <p:spPr>
          <a:xfrm>
            <a:off x="3429621" y="1972313"/>
            <a:ext cx="5090266" cy="1621509"/>
          </a:xfrm>
        </p:spPr>
        <p:txBody>
          <a:bodyPr anchor="b">
            <a:normAutofit/>
          </a:bodyPr>
          <a:lstStyle>
            <a:lvl1pPr marL="0" indent="0" algn="ctr">
              <a:buFont typeface="Arial" panose="020B0604020202020204" pitchFamily="34" charset="0"/>
              <a:buNone/>
              <a:defRPr sz="3200">
                <a:solidFill>
                  <a:schemeClr val="accent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3429621" y="4278549"/>
            <a:ext cx="5090264" cy="310871"/>
          </a:xfrm>
        </p:spPr>
        <p:txBody>
          <a:bodyPr vert="horz" lIns="91440" tIns="45720" rIns="91440" bIns="45720" rtlCol="0">
            <a:normAutofit/>
          </a:bodyPr>
          <a:lstStyle>
            <a:lvl1pPr marL="0" indent="0" algn="ctr">
              <a:buNone/>
              <a:defRPr lang="zh-CN" altLang="en-US" sz="1500" smtClean="0">
                <a:solidFill>
                  <a:schemeClr val="accent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endParaRPr lang="en-US" altLang="zh-CN" dirty="0"/>
          </a:p>
        </p:txBody>
      </p:sp>
      <p:sp>
        <p:nvSpPr>
          <p:cNvPr id="6" name="文本占位符 13"/>
          <p:cNvSpPr>
            <a:spLocks noGrp="1"/>
          </p:cNvSpPr>
          <p:nvPr userDrawn="1">
            <p:ph type="body" sz="quarter" idx="10" hasCustomPrompt="1"/>
          </p:nvPr>
        </p:nvSpPr>
        <p:spPr>
          <a:xfrm>
            <a:off x="3429621" y="3982278"/>
            <a:ext cx="5090264" cy="296271"/>
          </a:xfrm>
        </p:spPr>
        <p:txBody>
          <a:bodyPr vert="horz" anchor="ctr">
            <a:noAutofit/>
          </a:bodyPr>
          <a:lstStyle>
            <a:lvl1pPr marL="0" indent="0" algn="ctr">
              <a:buNone/>
              <a:defRPr sz="1500" b="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endParaRPr lang="en-US" altLang="zh-CN" dirty="0"/>
          </a:p>
        </p:txBody>
      </p:sp>
      <p:cxnSp>
        <p:nvCxnSpPr>
          <p:cNvPr id="5" name="直接连接符 4"/>
          <p:cNvCxnSpPr/>
          <p:nvPr userDrawn="1"/>
        </p:nvCxnSpPr>
        <p:spPr>
          <a:xfrm>
            <a:off x="3838353" y="3743779"/>
            <a:ext cx="4348717" cy="0"/>
          </a:xfrm>
          <a:prstGeom prst="line">
            <a:avLst/>
          </a:prstGeom>
          <a:ln w="3175">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24" name="圆: 空心 23"/>
          <p:cNvSpPr/>
          <p:nvPr userDrawn="1"/>
        </p:nvSpPr>
        <p:spPr>
          <a:xfrm>
            <a:off x="2808071" y="264943"/>
            <a:ext cx="6391373" cy="6391373"/>
          </a:xfrm>
          <a:prstGeom prst="donut">
            <a:avLst>
              <a:gd name="adj" fmla="val 15148"/>
            </a:avLst>
          </a:prstGeom>
          <a:blipFill dpi="0" rotWithShape="1">
            <a:blip r:embed="rId2">
              <a:alphaModFix amt="41000"/>
            </a:blip>
            <a:srcRect/>
            <a:stretch>
              <a:fillRect l="-25018" r="-25018"/>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7" Type="http://schemas.openxmlformats.org/officeDocument/2006/relationships/theme" Target="../theme/theme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6" Type="http://schemas.openxmlformats.org/officeDocument/2006/relationships/vmlDrawing" Target="../drawings/vmlDrawing1.vml"/><Relationship Id="rId5" Type="http://schemas.openxmlformats.org/officeDocument/2006/relationships/slideLayout" Target="../slideLayouts/slideLayout1.xml"/><Relationship Id="rId4" Type="http://schemas.openxmlformats.org/officeDocument/2006/relationships/themeOverride" Target="../theme/themeOverride1.xml"/><Relationship Id="rId3" Type="http://schemas.openxmlformats.org/officeDocument/2006/relationships/tags" Target="../tags/tag1.xml"/><Relationship Id="rId2" Type="http://schemas.openxmlformats.org/officeDocument/2006/relationships/image" Target="../media/image2.emf"/><Relationship Id="rId1"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0.xml"/></Relationships>
</file>

<file path=ppt/slides/_rels/slide11.xml.rels><?xml version="1.0" encoding="UTF-8" standalone="yes"?>
<Relationships xmlns="http://schemas.openxmlformats.org/package/2006/relationships"><Relationship Id="rId9" Type="http://schemas.openxmlformats.org/officeDocument/2006/relationships/tags" Target="../tags/tag12.xml"/><Relationship Id="rId8" Type="http://schemas.microsoft.com/office/2007/relationships/media" Target="../media/audio2.wav"/><Relationship Id="rId7" Type="http://schemas.openxmlformats.org/officeDocument/2006/relationships/audio" Target="../media/audio2.wav"/><Relationship Id="rId6" Type="http://schemas.openxmlformats.org/officeDocument/2006/relationships/image" Target="../media/image9.png"/><Relationship Id="rId5" Type="http://schemas.microsoft.com/office/2007/relationships/media" Target="../media/audio1.wav"/><Relationship Id="rId4" Type="http://schemas.openxmlformats.org/officeDocument/2006/relationships/audio" Target="../media/audio1.wav"/><Relationship Id="rId3" Type="http://schemas.openxmlformats.org/officeDocument/2006/relationships/tags" Target="../tags/tag11.xml"/><Relationship Id="rId2" Type="http://schemas.openxmlformats.org/officeDocument/2006/relationships/image" Target="../media/image8.png"/><Relationship Id="rId14" Type="http://schemas.openxmlformats.org/officeDocument/2006/relationships/slideLayout" Target="../slideLayouts/slideLayout4.xml"/><Relationship Id="rId13" Type="http://schemas.openxmlformats.org/officeDocument/2006/relationships/tags" Target="../tags/tag14.xml"/><Relationship Id="rId12" Type="http://schemas.openxmlformats.org/officeDocument/2006/relationships/image" Target="../media/image11.png"/><Relationship Id="rId11" Type="http://schemas.openxmlformats.org/officeDocument/2006/relationships/tags" Target="../tags/tag13.xml"/><Relationship Id="rId10" Type="http://schemas.openxmlformats.org/officeDocument/2006/relationships/image" Target="../media/image10.png"/><Relationship Id="rId1" Type="http://schemas.openxmlformats.org/officeDocument/2006/relationships/image" Target="../media/image7.png"/></Relationships>
</file>

<file path=ppt/slides/_rels/slide12.xml.rels><?xml version="1.0" encoding="UTF-8" standalone="yes"?>
<Relationships xmlns="http://schemas.openxmlformats.org/package/2006/relationships"><Relationship Id="rId5" Type="http://schemas.openxmlformats.org/officeDocument/2006/relationships/slideLayout" Target="../slideLayouts/slideLayout4.xml"/><Relationship Id="rId4" Type="http://schemas.openxmlformats.org/officeDocument/2006/relationships/tags" Target="../tags/tag16.xml"/><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tags" Target="../tags/tag15.xml"/></Relationships>
</file>

<file path=ppt/slides/_rels/slide13.xml.rels><?xml version="1.0" encoding="UTF-8" standalone="yes"?>
<Relationships xmlns="http://schemas.openxmlformats.org/package/2006/relationships"><Relationship Id="rId8" Type="http://schemas.openxmlformats.org/officeDocument/2006/relationships/slideLayout" Target="../slideLayouts/slideLayout4.xml"/><Relationship Id="rId7" Type="http://schemas.openxmlformats.org/officeDocument/2006/relationships/tags" Target="../tags/tag19.xml"/><Relationship Id="rId6" Type="http://schemas.openxmlformats.org/officeDocument/2006/relationships/image" Target="../media/image17.png"/><Relationship Id="rId5" Type="http://schemas.openxmlformats.org/officeDocument/2006/relationships/tags" Target="../tags/tag18.xml"/><Relationship Id="rId4" Type="http://schemas.openxmlformats.org/officeDocument/2006/relationships/image" Target="../media/image16.png"/><Relationship Id="rId3" Type="http://schemas.openxmlformats.org/officeDocument/2006/relationships/tags" Target="../tags/tag17.xml"/><Relationship Id="rId2" Type="http://schemas.openxmlformats.org/officeDocument/2006/relationships/image" Target="../media/image15.png"/><Relationship Id="rId1"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hemeOverride" Target="../theme/themeOverride5.xml"/><Relationship Id="rId1" Type="http://schemas.openxmlformats.org/officeDocument/2006/relationships/tags" Target="../tags/tag20.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1.xml"/><Relationship Id="rId1" Type="http://schemas.openxmlformats.org/officeDocument/2006/relationships/image" Target="../media/image18.jpeg"/></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2.xml"/></Relationships>
</file>

<file path=ppt/slides/_rels/slide17.xml.rels><?xml version="1.0" encoding="UTF-8" standalone="yes"?>
<Relationships xmlns="http://schemas.openxmlformats.org/package/2006/relationships"><Relationship Id="rId6" Type="http://schemas.openxmlformats.org/officeDocument/2006/relationships/vmlDrawing" Target="../drawings/vmlDrawing2.vml"/><Relationship Id="rId5" Type="http://schemas.openxmlformats.org/officeDocument/2006/relationships/slideLayout" Target="../slideLayouts/slideLayout6.xml"/><Relationship Id="rId4" Type="http://schemas.openxmlformats.org/officeDocument/2006/relationships/themeOverride" Target="../theme/themeOverride6.xml"/><Relationship Id="rId3" Type="http://schemas.openxmlformats.org/officeDocument/2006/relationships/tags" Target="../tags/tag23.xml"/><Relationship Id="rId2" Type="http://schemas.openxmlformats.org/officeDocument/2006/relationships/image" Target="../media/image2.emf"/><Relationship Id="rId1"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hemeOverride" Target="../theme/themeOverride2.xml"/><Relationship Id="rId1" Type="http://schemas.openxmlformats.org/officeDocument/2006/relationships/tags" Target="../tags/tag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hemeOverride" Target="../theme/themeOverride3.xml"/><Relationship Id="rId1" Type="http://schemas.openxmlformats.org/officeDocument/2006/relationships/tags" Target="../tags/tag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xml"/><Relationship Id="rId1" Type="http://schemas.openxmlformats.org/officeDocument/2006/relationships/image" Target="../media/image3.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hemeOverride" Target="../theme/themeOverride4.xml"/><Relationship Id="rId1" Type="http://schemas.openxmlformats.org/officeDocument/2006/relationships/tags" Target="../tags/tag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xml"/><Relationship Id="rId1" Type="http://schemas.openxmlformats.org/officeDocument/2006/relationships/image" Target="../media/image4.jpe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xml"/><Relationship Id="rId1" Type="http://schemas.openxmlformats.org/officeDocument/2006/relationships/image" Target="../media/image5.jpe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8.xml"/><Relationship Id="rId1" Type="http://schemas.openxmlformats.org/officeDocument/2006/relationships/image" Target="../media/image6.png"/></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1" imgW="9525" imgH="9525" progId="TCLayout.ActiveDocument.1">
                  <p:embed/>
                </p:oleObj>
              </mc:Choice>
              <mc:Fallback>
                <p:oleObj name="think-cell Slide" r:id="rId1" imgW="9525" imgH="9525" progId="TCLayout.ActiveDocument.1">
                  <p:embed/>
                  <p:pic>
                    <p:nvPicPr>
                      <p:cNvPr id="0" name="对象 2" hidden="1"/>
                      <p:cNvPicPr/>
                      <p:nvPr/>
                    </p:nvPicPr>
                    <p:blipFill>
                      <a:blip r:embed="rId2"/>
                      <a:stretch>
                        <a:fillRect/>
                      </a:stretch>
                    </p:blipFill>
                    <p:spPr>
                      <a:xfrm>
                        <a:off x="1588" y="1588"/>
                        <a:ext cx="1588" cy="1588"/>
                      </a:xfrm>
                      <a:prstGeom prst="rect">
                        <a:avLst/>
                      </a:prstGeom>
                    </p:spPr>
                  </p:pic>
                </p:oleObj>
              </mc:Fallback>
            </mc:AlternateContent>
          </a:graphicData>
        </a:graphic>
      </p:graphicFrame>
      <p:sp>
        <p:nvSpPr>
          <p:cNvPr id="4" name="矩形 3"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p:txBody>
          <a:bodyPr/>
          <a:lstStyle/>
          <a:p>
            <a:r>
              <a:rPr lang="en-US" altLang="zh-CN" dirty="0"/>
              <a:t>Text-to-Speech based on pyttsx3</a:t>
            </a:r>
            <a:endParaRPr lang="zh-CN" altLang="en-US" dirty="0"/>
          </a:p>
        </p:txBody>
      </p:sp>
      <p:sp>
        <p:nvSpPr>
          <p:cNvPr id="6" name="文本占位符 5"/>
          <p:cNvSpPr>
            <a:spLocks noGrp="1"/>
          </p:cNvSpPr>
          <p:nvPr>
            <p:ph type="body" sz="quarter" idx="10"/>
          </p:nvPr>
        </p:nvSpPr>
        <p:spPr/>
        <p:txBody>
          <a:bodyPr/>
          <a:lstStyle/>
          <a:p>
            <a:r>
              <a:rPr lang="zh-CN" altLang="en-US" dirty="0"/>
              <a:t>廖子涵 耿沛言 张旭东</a:t>
            </a:r>
            <a:endParaRPr lang="en-US" altLang="zh-CN" dirty="0"/>
          </a:p>
        </p:txBody>
      </p:sp>
      <p:sp>
        <p:nvSpPr>
          <p:cNvPr id="7" name="文本占位符 6"/>
          <p:cNvSpPr>
            <a:spLocks noGrp="1"/>
          </p:cNvSpPr>
          <p:nvPr>
            <p:ph type="body" sz="quarter" idx="11"/>
          </p:nvPr>
        </p:nvSpPr>
        <p:spPr/>
        <p:txBody>
          <a:bodyPr/>
          <a:lstStyle/>
          <a:p>
            <a:r>
              <a:rPr lang="en-US" altLang="en-US" dirty="0"/>
              <a:t>2023.05.30</a:t>
            </a:r>
            <a:endParaRPr lang="en-US" altLang="en-US" dirty="0"/>
          </a:p>
        </p:txBody>
      </p:sp>
    </p:spTree>
    <p:custDataLst>
      <p:tags r:id="rId3"/>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Introduction to pyttsx3</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grpSp>
        <p:nvGrpSpPr>
          <p:cNvPr id="5" name="组合 4"/>
          <p:cNvGrpSpPr/>
          <p:nvPr/>
        </p:nvGrpSpPr>
        <p:grpSpPr>
          <a:xfrm>
            <a:off x="858703" y="1383593"/>
            <a:ext cx="10030597" cy="4624539"/>
            <a:chOff x="830943" y="1688301"/>
            <a:chExt cx="10030597" cy="4624539"/>
          </a:xfrm>
        </p:grpSpPr>
        <p:grpSp>
          <p:nvGrpSpPr>
            <p:cNvPr id="6" name="îṧḻiďe"/>
            <p:cNvGrpSpPr/>
            <p:nvPr/>
          </p:nvGrpSpPr>
          <p:grpSpPr>
            <a:xfrm>
              <a:off x="830943" y="1688301"/>
              <a:ext cx="10030597" cy="4624539"/>
              <a:chOff x="660400" y="1688301"/>
              <a:chExt cx="10030597" cy="4624539"/>
            </a:xfrm>
          </p:grpSpPr>
          <p:grpSp>
            <p:nvGrpSpPr>
              <p:cNvPr id="8" name="iṡḷíḑé"/>
              <p:cNvGrpSpPr/>
              <p:nvPr/>
            </p:nvGrpSpPr>
            <p:grpSpPr>
              <a:xfrm>
                <a:off x="6221199" y="1850420"/>
                <a:ext cx="4469798" cy="4357417"/>
                <a:chOff x="6221199" y="1850420"/>
                <a:chExt cx="4469798" cy="4357417"/>
              </a:xfrm>
            </p:grpSpPr>
            <p:sp>
              <p:nvSpPr>
                <p:cNvPr id="35" name="í$1ïḓè"/>
                <p:cNvSpPr/>
                <p:nvPr/>
              </p:nvSpPr>
              <p:spPr>
                <a:xfrm>
                  <a:off x="6971010" y="2194608"/>
                  <a:ext cx="3719987" cy="3719985"/>
                </a:xfrm>
                <a:prstGeom prst="donut">
                  <a:avLst>
                    <a:gd name="adj" fmla="val 771"/>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36" name="îṥ1ïḑé"/>
                <p:cNvSpPr/>
                <p:nvPr/>
              </p:nvSpPr>
              <p:spPr>
                <a:xfrm rot="659" flipH="1">
                  <a:off x="7779831" y="3003432"/>
                  <a:ext cx="2102340" cy="21023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b="1" dirty="0">
                      <a:solidFill>
                        <a:srgbClr val="FFFFFF"/>
                      </a:solidFill>
                    </a:rPr>
                    <a:t>pyttsx3</a:t>
                  </a:r>
                  <a:endParaRPr kumimoji="1" lang="en-US" altLang="zh-CN" b="1" dirty="0">
                    <a:solidFill>
                      <a:srgbClr val="FFFFFF"/>
                    </a:solidFill>
                  </a:endParaRPr>
                </a:p>
              </p:txBody>
            </p:sp>
            <p:sp>
              <p:nvSpPr>
                <p:cNvPr id="37" name="îSḷïḓé"/>
                <p:cNvSpPr/>
                <p:nvPr/>
              </p:nvSpPr>
              <p:spPr>
                <a:xfrm>
                  <a:off x="7165561" y="1850420"/>
                  <a:ext cx="1262376" cy="126237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b="1" dirty="0">
                      <a:solidFill>
                        <a:srgbClr val="FFFFFF"/>
                      </a:solidFill>
                    </a:rPr>
                    <a:t>Cross-platform support</a:t>
                  </a:r>
                  <a:endParaRPr kumimoji="1" lang="en-US" altLang="zh-CN" sz="1200" b="1" dirty="0">
                    <a:solidFill>
                      <a:srgbClr val="FFFFFF"/>
                    </a:solidFill>
                  </a:endParaRPr>
                </a:p>
              </p:txBody>
            </p:sp>
            <p:sp>
              <p:nvSpPr>
                <p:cNvPr id="38" name="íśḷíďè"/>
                <p:cNvSpPr/>
                <p:nvPr/>
              </p:nvSpPr>
              <p:spPr>
                <a:xfrm>
                  <a:off x="9267979" y="1867792"/>
                  <a:ext cx="1364206" cy="126237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b="1" dirty="0">
                      <a:solidFill>
                        <a:srgbClr val="FFFFFF"/>
                      </a:solidFill>
                    </a:rPr>
                    <a:t>Advanced function</a:t>
                  </a:r>
                  <a:endParaRPr kumimoji="1" lang="en-US" altLang="zh-CN" sz="1200" b="1" dirty="0">
                    <a:solidFill>
                      <a:srgbClr val="FFFFFF"/>
                    </a:solidFill>
                  </a:endParaRPr>
                </a:p>
              </p:txBody>
            </p:sp>
            <p:sp>
              <p:nvSpPr>
                <p:cNvPr id="39" name="íšḷïdé"/>
                <p:cNvSpPr/>
                <p:nvPr/>
              </p:nvSpPr>
              <p:spPr>
                <a:xfrm>
                  <a:off x="9127152" y="4945461"/>
                  <a:ext cx="1262376" cy="126237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b="1" dirty="0">
                      <a:solidFill>
                        <a:srgbClr val="FFFFFF"/>
                      </a:solidFill>
                    </a:rPr>
                    <a:t>Event-driven architecture</a:t>
                  </a:r>
                  <a:endParaRPr kumimoji="1" lang="en-US" altLang="zh-CN" sz="1200" b="1" dirty="0">
                    <a:solidFill>
                      <a:srgbClr val="FFFFFF"/>
                    </a:solidFill>
                  </a:endParaRPr>
                </a:p>
              </p:txBody>
            </p:sp>
            <p:sp>
              <p:nvSpPr>
                <p:cNvPr id="40" name="î$1iḋê"/>
                <p:cNvSpPr/>
                <p:nvPr/>
              </p:nvSpPr>
              <p:spPr>
                <a:xfrm>
                  <a:off x="7131652" y="4884301"/>
                  <a:ext cx="1262376" cy="126237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b="1" dirty="0">
                      <a:solidFill>
                        <a:srgbClr val="FFFFFF"/>
                      </a:solidFill>
                    </a:rPr>
                    <a:t>Customizable voice properties</a:t>
                  </a:r>
                  <a:endParaRPr kumimoji="1" lang="en-US" altLang="zh-CN" sz="1200" b="1" dirty="0">
                    <a:solidFill>
                      <a:srgbClr val="FFFFFF"/>
                    </a:solidFill>
                  </a:endParaRPr>
                </a:p>
              </p:txBody>
            </p:sp>
            <p:sp>
              <p:nvSpPr>
                <p:cNvPr id="41" name="îs1íḑè"/>
                <p:cNvSpPr/>
                <p:nvPr/>
              </p:nvSpPr>
              <p:spPr>
                <a:xfrm rot="10800000" flipH="1" flipV="1">
                  <a:off x="6221199" y="3411756"/>
                  <a:ext cx="1262376" cy="126237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b="1" dirty="0">
                      <a:solidFill>
                        <a:srgbClr val="FFFFFF"/>
                      </a:solidFill>
                    </a:rPr>
                    <a:t>Multilanguage support</a:t>
                  </a:r>
                  <a:endParaRPr kumimoji="1" lang="en-US" altLang="zh-CN" sz="1200" b="1" dirty="0">
                    <a:solidFill>
                      <a:srgbClr val="FFFFFF"/>
                    </a:solidFill>
                  </a:endParaRPr>
                </a:p>
              </p:txBody>
            </p:sp>
          </p:grpSp>
          <p:grpSp>
            <p:nvGrpSpPr>
              <p:cNvPr id="9" name="ïṣlíḍê"/>
              <p:cNvGrpSpPr/>
              <p:nvPr/>
            </p:nvGrpSpPr>
            <p:grpSpPr>
              <a:xfrm>
                <a:off x="660400" y="1688301"/>
                <a:ext cx="5265054" cy="4624539"/>
                <a:chOff x="660400" y="1614397"/>
                <a:chExt cx="5265054" cy="4624539"/>
              </a:xfrm>
            </p:grpSpPr>
            <p:grpSp>
              <p:nvGrpSpPr>
                <p:cNvPr id="10" name="í$ļide"/>
                <p:cNvGrpSpPr/>
                <p:nvPr/>
              </p:nvGrpSpPr>
              <p:grpSpPr>
                <a:xfrm>
                  <a:off x="660400" y="1614397"/>
                  <a:ext cx="4338128" cy="872338"/>
                  <a:chOff x="1310730" y="2073478"/>
                  <a:chExt cx="4338128" cy="872338"/>
                </a:xfrm>
              </p:grpSpPr>
              <p:grpSp>
                <p:nvGrpSpPr>
                  <p:cNvPr id="31" name="ïšlïḍê"/>
                  <p:cNvGrpSpPr/>
                  <p:nvPr/>
                </p:nvGrpSpPr>
                <p:grpSpPr>
                  <a:xfrm>
                    <a:off x="1863356" y="2073478"/>
                    <a:ext cx="3785502" cy="872338"/>
                    <a:chOff x="7119257" y="2434918"/>
                    <a:chExt cx="4495009" cy="858261"/>
                  </a:xfrm>
                  <a:noFill/>
                </p:grpSpPr>
                <p:sp>
                  <p:nvSpPr>
                    <p:cNvPr id="33" name="ïšľíḍè"/>
                    <p:cNvSpPr/>
                    <p:nvPr/>
                  </p:nvSpPr>
                  <p:spPr>
                    <a:xfrm>
                      <a:off x="7119257" y="2434918"/>
                      <a:ext cx="3192662" cy="5753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rPr>
                        <a:t>Cross-platform support</a:t>
                      </a:r>
                      <a:endParaRPr kumimoji="1" lang="en-US" altLang="zh-CN" sz="1600" b="1" dirty="0">
                        <a:solidFill>
                          <a:schemeClr val="tx1"/>
                        </a:solidFill>
                      </a:endParaRPr>
                    </a:p>
                    <a:p>
                      <a:endParaRPr kumimoji="1" lang="en-US" altLang="zh-CN" sz="1600" b="1" dirty="0">
                        <a:solidFill>
                          <a:schemeClr val="tx1"/>
                        </a:solidFill>
                      </a:endParaRPr>
                    </a:p>
                  </p:txBody>
                </p:sp>
                <p:sp>
                  <p:nvSpPr>
                    <p:cNvPr id="34" name="îṣḷïḍé"/>
                    <p:cNvSpPr/>
                    <p:nvPr/>
                  </p:nvSpPr>
                  <p:spPr>
                    <a:xfrm>
                      <a:off x="7119257" y="2754492"/>
                      <a:ext cx="4495009" cy="5386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200" dirty="0">
                          <a:solidFill>
                            <a:schemeClr val="tx1"/>
                          </a:solidFill>
                        </a:rPr>
                        <a:t>pyttsx3 runs on multiple operating systems, including Windows, Mac, and Linux</a:t>
                      </a:r>
                      <a:endParaRPr kumimoji="1" lang="en-US" altLang="zh-CN" sz="1200" dirty="0">
                        <a:solidFill>
                          <a:schemeClr val="tx1"/>
                        </a:solidFill>
                      </a:endParaRPr>
                    </a:p>
                  </p:txBody>
                </p:sp>
              </p:grpSp>
              <p:sp>
                <p:nvSpPr>
                  <p:cNvPr id="32" name="îšḷíḑè"/>
                  <p:cNvSpPr txBox="1"/>
                  <p:nvPr/>
                </p:nvSpPr>
                <p:spPr>
                  <a:xfrm>
                    <a:off x="1310730" y="2138743"/>
                    <a:ext cx="480905" cy="480905"/>
                  </a:xfrm>
                  <a:prstGeom prst="roundRect">
                    <a:avLst>
                      <a:gd name="adj" fmla="val 50000"/>
                    </a:avLst>
                  </a:prstGeom>
                  <a:solidFill>
                    <a:schemeClr val="accent1"/>
                  </a:solidFill>
                </p:spPr>
                <p:txBody>
                  <a:bodyPr wrap="none" lIns="91440" tIns="45720" rIns="91440" bIns="45720" rtlCol="0" anchor="ctr" anchorCtr="0">
                    <a:noAutofit/>
                  </a:bodyPr>
                  <a:lstStyle/>
                  <a:p>
                    <a:pPr algn="ctr"/>
                    <a:r>
                      <a:rPr kumimoji="1" lang="en-US" altLang="zh-CN" sz="2000" b="1" dirty="0">
                        <a:solidFill>
                          <a:srgbClr val="FFFFFF"/>
                        </a:solidFill>
                      </a:rPr>
                      <a:t>01</a:t>
                    </a:r>
                    <a:endParaRPr kumimoji="1" lang="zh-CN" altLang="en-US" sz="2000" b="1" dirty="0">
                      <a:solidFill>
                        <a:srgbClr val="FFFFFF"/>
                      </a:solidFill>
                    </a:endParaRPr>
                  </a:p>
                </p:txBody>
              </p:sp>
            </p:grpSp>
            <p:grpSp>
              <p:nvGrpSpPr>
                <p:cNvPr id="11" name="isľîḍê"/>
                <p:cNvGrpSpPr/>
                <p:nvPr/>
              </p:nvGrpSpPr>
              <p:grpSpPr>
                <a:xfrm>
                  <a:off x="667526" y="2624838"/>
                  <a:ext cx="4713628" cy="799943"/>
                  <a:chOff x="1317856" y="2969149"/>
                  <a:chExt cx="4713628" cy="799943"/>
                </a:xfrm>
              </p:grpSpPr>
              <p:grpSp>
                <p:nvGrpSpPr>
                  <p:cNvPr id="27" name="ïṡ1ïḋè"/>
                  <p:cNvGrpSpPr/>
                  <p:nvPr/>
                </p:nvGrpSpPr>
                <p:grpSpPr>
                  <a:xfrm>
                    <a:off x="1863355" y="3005192"/>
                    <a:ext cx="4168129" cy="763900"/>
                    <a:chOff x="7119256" y="2541605"/>
                    <a:chExt cx="4949351" cy="751574"/>
                  </a:xfrm>
                  <a:noFill/>
                </p:grpSpPr>
                <p:sp>
                  <p:nvSpPr>
                    <p:cNvPr id="29" name="îṧḷiḓé"/>
                    <p:cNvSpPr/>
                    <p:nvPr/>
                  </p:nvSpPr>
                  <p:spPr>
                    <a:xfrm>
                      <a:off x="7119257" y="2541605"/>
                      <a:ext cx="3277826" cy="5753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rPr>
                        <a:t>Multilanguage support</a:t>
                      </a:r>
                      <a:endParaRPr kumimoji="1" lang="en-US" altLang="zh-CN" sz="1600" b="1" dirty="0">
                        <a:solidFill>
                          <a:schemeClr val="tx1"/>
                        </a:solidFill>
                      </a:endParaRPr>
                    </a:p>
                    <a:p>
                      <a:endParaRPr kumimoji="1" lang="en-US" altLang="zh-CN" sz="1600" b="1" dirty="0">
                        <a:solidFill>
                          <a:schemeClr val="tx1"/>
                        </a:solidFill>
                      </a:endParaRPr>
                    </a:p>
                  </p:txBody>
                </p:sp>
                <p:sp>
                  <p:nvSpPr>
                    <p:cNvPr id="30" name="iś1ïḓê"/>
                    <p:cNvSpPr/>
                    <p:nvPr/>
                  </p:nvSpPr>
                  <p:spPr>
                    <a:xfrm>
                      <a:off x="7119256" y="2754492"/>
                      <a:ext cx="4949351" cy="5386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200" dirty="0">
                          <a:solidFill>
                            <a:schemeClr val="tx1"/>
                          </a:solidFill>
                        </a:rPr>
                        <a:t>pyttsx3 supports speech synthesis in a variety of languages</a:t>
                      </a:r>
                      <a:endParaRPr kumimoji="1" lang="en-US" altLang="zh-CN" sz="1200" dirty="0">
                        <a:solidFill>
                          <a:schemeClr val="tx1"/>
                        </a:solidFill>
                      </a:endParaRPr>
                    </a:p>
                  </p:txBody>
                </p:sp>
              </p:grpSp>
              <p:sp>
                <p:nvSpPr>
                  <p:cNvPr id="28" name="iṡḷïḑe"/>
                  <p:cNvSpPr txBox="1"/>
                  <p:nvPr/>
                </p:nvSpPr>
                <p:spPr>
                  <a:xfrm>
                    <a:off x="1317856" y="2969149"/>
                    <a:ext cx="473780" cy="473780"/>
                  </a:xfrm>
                  <a:prstGeom prst="roundRect">
                    <a:avLst>
                      <a:gd name="adj" fmla="val 50000"/>
                    </a:avLst>
                  </a:prstGeom>
                  <a:solidFill>
                    <a:schemeClr val="tx2"/>
                  </a:solidFill>
                </p:spPr>
                <p:txBody>
                  <a:bodyPr wrap="none" lIns="91440" tIns="45720" rIns="91440" bIns="45720" rtlCol="0" anchor="ctr" anchorCtr="0">
                    <a:noAutofit/>
                  </a:bodyPr>
                  <a:lstStyle/>
                  <a:p>
                    <a:pPr algn="ctr"/>
                    <a:r>
                      <a:rPr kumimoji="1" lang="en-US" altLang="zh-CN" sz="2000" b="1" dirty="0">
                        <a:solidFill>
                          <a:srgbClr val="FFFFFF"/>
                        </a:solidFill>
                      </a:rPr>
                      <a:t>02</a:t>
                    </a:r>
                    <a:endParaRPr kumimoji="1" lang="zh-CN" altLang="en-US" sz="2000" b="1" dirty="0">
                      <a:solidFill>
                        <a:srgbClr val="FFFFFF"/>
                      </a:solidFill>
                    </a:endParaRPr>
                  </a:p>
                </p:txBody>
              </p:sp>
            </p:grpSp>
            <p:grpSp>
              <p:nvGrpSpPr>
                <p:cNvPr id="12" name="íṩlïḓè"/>
                <p:cNvGrpSpPr/>
                <p:nvPr/>
              </p:nvGrpSpPr>
              <p:grpSpPr>
                <a:xfrm>
                  <a:off x="667526" y="3472939"/>
                  <a:ext cx="5046516" cy="889896"/>
                  <a:chOff x="1317856" y="3702480"/>
                  <a:chExt cx="5046516" cy="889896"/>
                </a:xfrm>
              </p:grpSpPr>
              <p:grpSp>
                <p:nvGrpSpPr>
                  <p:cNvPr id="23" name="íSľîḑe"/>
                  <p:cNvGrpSpPr/>
                  <p:nvPr/>
                </p:nvGrpSpPr>
                <p:grpSpPr>
                  <a:xfrm>
                    <a:off x="1863355" y="3702480"/>
                    <a:ext cx="4501017" cy="889896"/>
                    <a:chOff x="7119256" y="2417643"/>
                    <a:chExt cx="5344631" cy="875536"/>
                  </a:xfrm>
                  <a:noFill/>
                </p:grpSpPr>
                <p:sp>
                  <p:nvSpPr>
                    <p:cNvPr id="25" name="iŝlíḋé"/>
                    <p:cNvSpPr/>
                    <p:nvPr/>
                  </p:nvSpPr>
                  <p:spPr>
                    <a:xfrm>
                      <a:off x="7119257" y="2417643"/>
                      <a:ext cx="3788093" cy="3330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rPr>
                        <a:t>Customizable voice properties</a:t>
                      </a:r>
                      <a:endParaRPr kumimoji="1" lang="en-US" altLang="zh-CN" sz="1600" b="1" dirty="0">
                        <a:solidFill>
                          <a:schemeClr val="tx1"/>
                        </a:solidFill>
                      </a:endParaRPr>
                    </a:p>
                  </p:txBody>
                </p:sp>
                <p:sp>
                  <p:nvSpPr>
                    <p:cNvPr id="26" name="ïṡ1iḍè"/>
                    <p:cNvSpPr/>
                    <p:nvPr/>
                  </p:nvSpPr>
                  <p:spPr>
                    <a:xfrm>
                      <a:off x="7119256" y="2754492"/>
                      <a:ext cx="5344631" cy="5386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200" dirty="0">
                          <a:solidFill>
                            <a:schemeClr val="tx1"/>
                          </a:solidFill>
                        </a:rPr>
                        <a:t>pyttsx3 allows you to customize synthesized speech output by setting properties such as speed, pitch, volume, and speech</a:t>
                      </a:r>
                      <a:endParaRPr kumimoji="1" lang="en-US" altLang="zh-CN" sz="1200" dirty="0">
                        <a:solidFill>
                          <a:schemeClr val="tx1"/>
                        </a:solidFill>
                      </a:endParaRPr>
                    </a:p>
                  </p:txBody>
                </p:sp>
              </p:grpSp>
              <p:sp>
                <p:nvSpPr>
                  <p:cNvPr id="24" name="isľîḑe"/>
                  <p:cNvSpPr txBox="1"/>
                  <p:nvPr/>
                </p:nvSpPr>
                <p:spPr>
                  <a:xfrm>
                    <a:off x="1317856" y="3792429"/>
                    <a:ext cx="473780" cy="473780"/>
                  </a:xfrm>
                  <a:prstGeom prst="roundRect">
                    <a:avLst>
                      <a:gd name="adj" fmla="val 50000"/>
                    </a:avLst>
                  </a:prstGeom>
                  <a:solidFill>
                    <a:schemeClr val="accent1"/>
                  </a:solidFill>
                </p:spPr>
                <p:txBody>
                  <a:bodyPr wrap="none" lIns="91440" tIns="45720" rIns="91440" bIns="45720" rtlCol="0" anchor="ctr" anchorCtr="0">
                    <a:noAutofit/>
                  </a:bodyPr>
                  <a:lstStyle/>
                  <a:p>
                    <a:pPr algn="ctr"/>
                    <a:r>
                      <a:rPr kumimoji="1" lang="en-US" altLang="zh-CN" sz="2000" b="1" dirty="0">
                        <a:solidFill>
                          <a:srgbClr val="FFFFFF"/>
                        </a:solidFill>
                      </a:rPr>
                      <a:t>03</a:t>
                    </a:r>
                    <a:endParaRPr kumimoji="1" lang="zh-CN" altLang="en-US" sz="2000" b="1" dirty="0">
                      <a:solidFill>
                        <a:srgbClr val="FFFFFF"/>
                      </a:solidFill>
                    </a:endParaRPr>
                  </a:p>
                </p:txBody>
              </p:sp>
            </p:grpSp>
            <p:grpSp>
              <p:nvGrpSpPr>
                <p:cNvPr id="13" name="ïSḷïḍê"/>
                <p:cNvGrpSpPr/>
                <p:nvPr/>
              </p:nvGrpSpPr>
              <p:grpSpPr>
                <a:xfrm>
                  <a:off x="667526" y="4410988"/>
                  <a:ext cx="4750776" cy="889896"/>
                  <a:chOff x="1317856" y="4525759"/>
                  <a:chExt cx="4750776" cy="889896"/>
                </a:xfrm>
              </p:grpSpPr>
              <p:grpSp>
                <p:nvGrpSpPr>
                  <p:cNvPr id="19" name="iṧ1íďé"/>
                  <p:cNvGrpSpPr/>
                  <p:nvPr/>
                </p:nvGrpSpPr>
                <p:grpSpPr>
                  <a:xfrm>
                    <a:off x="1863356" y="4525759"/>
                    <a:ext cx="4205276" cy="889896"/>
                    <a:chOff x="7119257" y="2417643"/>
                    <a:chExt cx="4993460" cy="875536"/>
                  </a:xfrm>
                  <a:noFill/>
                </p:grpSpPr>
                <p:sp>
                  <p:nvSpPr>
                    <p:cNvPr id="21" name="iśḷiḓê"/>
                    <p:cNvSpPr/>
                    <p:nvPr/>
                  </p:nvSpPr>
                  <p:spPr>
                    <a:xfrm>
                      <a:off x="7119257" y="2417643"/>
                      <a:ext cx="3412750" cy="3330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rPr>
                        <a:t>Event-driven architecture</a:t>
                      </a:r>
                      <a:endParaRPr kumimoji="1" lang="en-US" altLang="zh-CN" sz="1600" b="1" dirty="0">
                        <a:solidFill>
                          <a:schemeClr val="tx1"/>
                        </a:solidFill>
                      </a:endParaRPr>
                    </a:p>
                  </p:txBody>
                </p:sp>
                <p:sp>
                  <p:nvSpPr>
                    <p:cNvPr id="22" name="íṧliďe"/>
                    <p:cNvSpPr/>
                    <p:nvPr/>
                  </p:nvSpPr>
                  <p:spPr>
                    <a:xfrm>
                      <a:off x="7119257" y="2754492"/>
                      <a:ext cx="4993460" cy="5386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200" dirty="0">
                          <a:solidFill>
                            <a:schemeClr val="tx1"/>
                          </a:solidFill>
                        </a:rPr>
                        <a:t>pyttsx3 uses an event-driven architecture to handle the various events of speech synthesis</a:t>
                      </a:r>
                      <a:endParaRPr kumimoji="1" lang="en-US" altLang="zh-CN" sz="1200" dirty="0">
                        <a:solidFill>
                          <a:schemeClr val="tx1"/>
                        </a:solidFill>
                      </a:endParaRPr>
                    </a:p>
                  </p:txBody>
                </p:sp>
              </p:grpSp>
              <p:sp>
                <p:nvSpPr>
                  <p:cNvPr id="20" name="iṡ1iḓé"/>
                  <p:cNvSpPr txBox="1"/>
                  <p:nvPr/>
                </p:nvSpPr>
                <p:spPr>
                  <a:xfrm>
                    <a:off x="1317856" y="4615709"/>
                    <a:ext cx="473780" cy="473780"/>
                  </a:xfrm>
                  <a:prstGeom prst="roundRect">
                    <a:avLst>
                      <a:gd name="adj" fmla="val 50000"/>
                    </a:avLst>
                  </a:prstGeom>
                  <a:solidFill>
                    <a:schemeClr val="tx2"/>
                  </a:solidFill>
                </p:spPr>
                <p:txBody>
                  <a:bodyPr wrap="none" lIns="91440" tIns="45720" rIns="91440" bIns="45720" rtlCol="0" anchor="ctr" anchorCtr="0">
                    <a:noAutofit/>
                  </a:bodyPr>
                  <a:lstStyle/>
                  <a:p>
                    <a:pPr algn="ctr"/>
                    <a:r>
                      <a:rPr kumimoji="1" lang="en-US" altLang="zh-CN" sz="2000" b="1" dirty="0">
                        <a:solidFill>
                          <a:srgbClr val="FFFFFF"/>
                        </a:solidFill>
                      </a:rPr>
                      <a:t>04</a:t>
                    </a:r>
                    <a:endParaRPr kumimoji="1" lang="zh-CN" altLang="en-US" sz="2000" b="1" dirty="0">
                      <a:solidFill>
                        <a:srgbClr val="FFFFFF"/>
                      </a:solidFill>
                    </a:endParaRPr>
                  </a:p>
                </p:txBody>
              </p:sp>
            </p:grpSp>
            <p:grpSp>
              <p:nvGrpSpPr>
                <p:cNvPr id="14" name="ïṣļíḓè"/>
                <p:cNvGrpSpPr/>
                <p:nvPr/>
              </p:nvGrpSpPr>
              <p:grpSpPr>
                <a:xfrm>
                  <a:off x="667526" y="5349040"/>
                  <a:ext cx="5257928" cy="889896"/>
                  <a:chOff x="1317856" y="5349040"/>
                  <a:chExt cx="5257928" cy="889896"/>
                </a:xfrm>
              </p:grpSpPr>
              <p:grpSp>
                <p:nvGrpSpPr>
                  <p:cNvPr id="15" name="íṡľîḋè"/>
                  <p:cNvGrpSpPr/>
                  <p:nvPr/>
                </p:nvGrpSpPr>
                <p:grpSpPr>
                  <a:xfrm>
                    <a:off x="1863355" y="5349040"/>
                    <a:ext cx="4712429" cy="889896"/>
                    <a:chOff x="7119256" y="2417643"/>
                    <a:chExt cx="5595668" cy="875536"/>
                  </a:xfrm>
                  <a:noFill/>
                </p:grpSpPr>
                <p:sp>
                  <p:nvSpPr>
                    <p:cNvPr id="17" name="îṥľîďe"/>
                    <p:cNvSpPr/>
                    <p:nvPr/>
                  </p:nvSpPr>
                  <p:spPr>
                    <a:xfrm>
                      <a:off x="7119257" y="2417643"/>
                      <a:ext cx="3052561" cy="3330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rPr>
                        <a:t>Multi-engine support</a:t>
                      </a:r>
                      <a:endParaRPr kumimoji="1" lang="en-US" altLang="zh-CN" sz="1600" b="1" dirty="0">
                        <a:solidFill>
                          <a:schemeClr val="tx1"/>
                        </a:solidFill>
                      </a:endParaRPr>
                    </a:p>
                  </p:txBody>
                </p:sp>
                <p:sp>
                  <p:nvSpPr>
                    <p:cNvPr id="18" name="ísľíḋé"/>
                    <p:cNvSpPr/>
                    <p:nvPr/>
                  </p:nvSpPr>
                  <p:spPr>
                    <a:xfrm>
                      <a:off x="7119256" y="2754492"/>
                      <a:ext cx="5595668" cy="5386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200" dirty="0">
                          <a:solidFill>
                            <a:schemeClr val="tx1"/>
                          </a:solidFill>
                        </a:rPr>
                        <a:t>pyttsx3 supports multiple speech synthesis engines. It uses SAPI5 (for Windows) or </a:t>
                      </a:r>
                      <a:r>
                        <a:rPr kumimoji="1" lang="en-US" altLang="zh-CN" sz="1200" dirty="0" err="1">
                          <a:solidFill>
                            <a:schemeClr val="tx1"/>
                          </a:solidFill>
                        </a:rPr>
                        <a:t>NSSpeechSynthesizer</a:t>
                      </a:r>
                      <a:r>
                        <a:rPr kumimoji="1" lang="en-US" altLang="zh-CN" sz="1200" dirty="0">
                          <a:solidFill>
                            <a:schemeClr val="tx1"/>
                          </a:solidFill>
                        </a:rPr>
                        <a:t> (for Mac) by default</a:t>
                      </a:r>
                      <a:endParaRPr kumimoji="1" lang="en-US" altLang="zh-CN" sz="1200" dirty="0">
                        <a:solidFill>
                          <a:schemeClr val="tx1"/>
                        </a:solidFill>
                      </a:endParaRPr>
                    </a:p>
                  </p:txBody>
                </p:sp>
              </p:grpSp>
              <p:sp>
                <p:nvSpPr>
                  <p:cNvPr id="16" name="ïš1îḓe"/>
                  <p:cNvSpPr txBox="1"/>
                  <p:nvPr/>
                </p:nvSpPr>
                <p:spPr>
                  <a:xfrm>
                    <a:off x="1317856" y="5438989"/>
                    <a:ext cx="473780" cy="473780"/>
                  </a:xfrm>
                  <a:prstGeom prst="roundRect">
                    <a:avLst>
                      <a:gd name="adj" fmla="val 50000"/>
                    </a:avLst>
                  </a:prstGeom>
                  <a:solidFill>
                    <a:schemeClr val="accent1"/>
                  </a:solidFill>
                </p:spPr>
                <p:txBody>
                  <a:bodyPr wrap="none" lIns="91440" tIns="45720" rIns="91440" bIns="45720" rtlCol="0" anchor="ctr" anchorCtr="0">
                    <a:noAutofit/>
                  </a:bodyPr>
                  <a:lstStyle/>
                  <a:p>
                    <a:pPr algn="ctr"/>
                    <a:r>
                      <a:rPr kumimoji="1" lang="en-US" altLang="zh-CN" sz="2000" b="1" dirty="0">
                        <a:solidFill>
                          <a:srgbClr val="FFFFFF"/>
                        </a:solidFill>
                      </a:rPr>
                      <a:t>05</a:t>
                    </a:r>
                    <a:endParaRPr kumimoji="1" lang="zh-CN" altLang="en-US" sz="2000" b="1" dirty="0">
                      <a:solidFill>
                        <a:srgbClr val="FFFFFF"/>
                      </a:solidFill>
                    </a:endParaRPr>
                  </a:p>
                </p:txBody>
              </p:sp>
            </p:grpSp>
          </p:grpSp>
        </p:grpSp>
        <p:cxnSp>
          <p:nvCxnSpPr>
            <p:cNvPr id="7" name="îS1íḑè"/>
            <p:cNvCxnSpPr/>
            <p:nvPr/>
          </p:nvCxnSpPr>
          <p:spPr>
            <a:xfrm>
              <a:off x="6096000" y="1867792"/>
              <a:ext cx="0" cy="4007930"/>
            </a:xfrm>
            <a:prstGeom prst="line">
              <a:avLst/>
            </a:prstGeom>
            <a:ln>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grpSp>
      <p:sp>
        <p:nvSpPr>
          <p:cNvPr id="42" name="íśḷíďè"/>
          <p:cNvSpPr/>
          <p:nvPr/>
        </p:nvSpPr>
        <p:spPr>
          <a:xfrm>
            <a:off x="10258112" y="3423412"/>
            <a:ext cx="1262376" cy="126237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200" b="1" dirty="0">
                <a:solidFill>
                  <a:srgbClr val="FFFFFF"/>
                </a:solidFill>
              </a:rPr>
              <a:t>Multi-engine support</a:t>
            </a:r>
            <a:endParaRPr kumimoji="1" lang="en-US" altLang="zh-CN" sz="1200" b="1" dirty="0">
              <a:solidFill>
                <a:srgbClr val="FFFFFF"/>
              </a:solidFill>
            </a:endParaRPr>
          </a:p>
        </p:txBody>
      </p:sp>
      <p:sp>
        <p:nvSpPr>
          <p:cNvPr id="43" name="ïš1îḓe"/>
          <p:cNvSpPr txBox="1"/>
          <p:nvPr/>
        </p:nvSpPr>
        <p:spPr>
          <a:xfrm>
            <a:off x="858703" y="6040677"/>
            <a:ext cx="473780" cy="473780"/>
          </a:xfrm>
          <a:prstGeom prst="roundRect">
            <a:avLst>
              <a:gd name="adj" fmla="val 50000"/>
            </a:avLst>
          </a:prstGeom>
          <a:solidFill>
            <a:schemeClr val="accent1"/>
          </a:solidFill>
        </p:spPr>
        <p:txBody>
          <a:bodyPr wrap="none" lIns="91440" tIns="45720" rIns="91440" bIns="45720" rtlCol="0" anchor="ctr" anchorCtr="0">
            <a:noAutofit/>
          </a:bodyPr>
          <a:lstStyle/>
          <a:p>
            <a:pPr algn="ctr"/>
            <a:r>
              <a:rPr kumimoji="1" lang="en-US" altLang="zh-CN" sz="2000" b="1" dirty="0">
                <a:solidFill>
                  <a:srgbClr val="FFFFFF"/>
                </a:solidFill>
              </a:rPr>
              <a:t>06</a:t>
            </a:r>
            <a:endParaRPr kumimoji="1" lang="zh-CN" altLang="en-US" sz="2000" b="1" dirty="0">
              <a:solidFill>
                <a:srgbClr val="FFFFFF"/>
              </a:solidFill>
            </a:endParaRPr>
          </a:p>
        </p:txBody>
      </p:sp>
      <p:sp>
        <p:nvSpPr>
          <p:cNvPr id="44" name="îṥľîďe"/>
          <p:cNvSpPr/>
          <p:nvPr/>
        </p:nvSpPr>
        <p:spPr>
          <a:xfrm>
            <a:off x="1394369" y="6008132"/>
            <a:ext cx="3224087"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r>
              <a:rPr kumimoji="1" lang="en-US" altLang="zh-CN" sz="1600" b="1" dirty="0">
                <a:solidFill>
                  <a:schemeClr val="tx1"/>
                </a:solidFill>
              </a:rPr>
              <a:t>Advanced function</a:t>
            </a:r>
            <a:endParaRPr kumimoji="1" lang="en-US" altLang="zh-CN" sz="1600" b="1" dirty="0">
              <a:solidFill>
                <a:schemeClr val="tx1"/>
              </a:solidFill>
            </a:endParaRPr>
          </a:p>
          <a:p>
            <a:endParaRPr kumimoji="1" lang="en-US" altLang="zh-CN" sz="1600" b="1" dirty="0">
              <a:solidFill>
                <a:schemeClr val="tx1"/>
              </a:solidFill>
            </a:endParaRPr>
          </a:p>
        </p:txBody>
      </p:sp>
      <p:sp>
        <p:nvSpPr>
          <p:cNvPr id="45" name="ísľíḋé"/>
          <p:cNvSpPr/>
          <p:nvPr/>
        </p:nvSpPr>
        <p:spPr>
          <a:xfrm>
            <a:off x="1411329" y="6278394"/>
            <a:ext cx="5500748" cy="547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nSpc>
                <a:spcPct val="130000"/>
              </a:lnSpc>
            </a:pPr>
            <a:r>
              <a:rPr kumimoji="1" lang="en-US" altLang="zh-CN" sz="1200" dirty="0">
                <a:solidFill>
                  <a:schemeClr val="tx1"/>
                </a:solidFill>
              </a:rPr>
              <a:t>pyttsx3 provides some advanced features for getting a list of available voices, setting specific voices, saving voices as audio files, and so on</a:t>
            </a:r>
            <a:endParaRPr kumimoji="1" lang="en-US" altLang="zh-CN" sz="1200" dirty="0">
              <a:solidFill>
                <a:schemeClr val="tx1"/>
              </a:solidFill>
            </a:endParaRPr>
          </a:p>
        </p:txBody>
      </p:sp>
    </p:spTree>
    <p:custDataLst>
      <p:tags r:id="rId1"/>
    </p:custData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Results Analysis</a:t>
            </a:r>
            <a:r>
              <a:rPr lang="zh-CN" altLang="en-US" dirty="0"/>
              <a:t>：</a:t>
            </a:r>
            <a:r>
              <a:rPr lang="en-US" altLang="zh-CN" dirty="0"/>
              <a:t>Pitch</a:t>
            </a:r>
            <a:endParaRPr lang="en-US" altLang="zh-CN"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pic>
        <p:nvPicPr>
          <p:cNvPr id="47" name="图片 46" descr="7fc5d7324c86c4f36629463bc7645cb"/>
          <p:cNvPicPr>
            <a:picLocks noChangeAspect="1"/>
          </p:cNvPicPr>
          <p:nvPr/>
        </p:nvPicPr>
        <p:blipFill>
          <a:blip r:embed="rId1"/>
          <a:stretch>
            <a:fillRect/>
          </a:stretch>
        </p:blipFill>
        <p:spPr>
          <a:xfrm>
            <a:off x="255270" y="1962150"/>
            <a:ext cx="5709920" cy="4382135"/>
          </a:xfrm>
          <a:prstGeom prst="rect">
            <a:avLst/>
          </a:prstGeom>
        </p:spPr>
      </p:pic>
      <p:pic>
        <p:nvPicPr>
          <p:cNvPr id="48" name="图片 47" descr="fc03a9d90be5d01a90265853878b499"/>
          <p:cNvPicPr>
            <a:picLocks noChangeAspect="1"/>
          </p:cNvPicPr>
          <p:nvPr/>
        </p:nvPicPr>
        <p:blipFill>
          <a:blip r:embed="rId2"/>
          <a:stretch>
            <a:fillRect/>
          </a:stretch>
        </p:blipFill>
        <p:spPr>
          <a:xfrm>
            <a:off x="6195695" y="1962150"/>
            <a:ext cx="5814060" cy="4421505"/>
          </a:xfrm>
          <a:prstGeom prst="rect">
            <a:avLst/>
          </a:prstGeom>
        </p:spPr>
      </p:pic>
      <p:sp>
        <p:nvSpPr>
          <p:cNvPr id="52" name="文本框 51"/>
          <p:cNvSpPr txBox="1"/>
          <p:nvPr/>
        </p:nvSpPr>
        <p:spPr>
          <a:xfrm>
            <a:off x="669925" y="1143635"/>
            <a:ext cx="8091805" cy="368300"/>
          </a:xfrm>
          <a:prstGeom prst="rect">
            <a:avLst/>
          </a:prstGeom>
          <a:noFill/>
        </p:spPr>
        <p:txBody>
          <a:bodyPr wrap="square" rtlCol="0">
            <a:spAutoFit/>
          </a:bodyPr>
          <a:p>
            <a:r>
              <a:rPr lang="en-US" altLang="zh-CN"/>
              <a:t>“H</a:t>
            </a:r>
            <a:r>
              <a:rPr lang="en-US" altLang="zh-CN"/>
              <a:t>ello, this is the test speech for speech signal processing final project.”</a:t>
            </a:r>
            <a:endParaRPr lang="en-US" altLang="zh-CN"/>
          </a:p>
        </p:txBody>
      </p:sp>
      <p:sp>
        <p:nvSpPr>
          <p:cNvPr id="53" name="文本框 52"/>
          <p:cNvSpPr txBox="1"/>
          <p:nvPr/>
        </p:nvSpPr>
        <p:spPr>
          <a:xfrm>
            <a:off x="560705" y="6383655"/>
            <a:ext cx="4064000" cy="368300"/>
          </a:xfrm>
          <a:prstGeom prst="rect">
            <a:avLst/>
          </a:prstGeom>
          <a:noFill/>
        </p:spPr>
        <p:txBody>
          <a:bodyPr wrap="square" rtlCol="0">
            <a:spAutoFit/>
          </a:bodyPr>
          <a:p>
            <a:r>
              <a:rPr lang="en-US" altLang="zh-CN"/>
              <a:t>pitch = 95 Hz</a:t>
            </a:r>
            <a:endParaRPr lang="en-US" altLang="zh-CN"/>
          </a:p>
        </p:txBody>
      </p:sp>
      <p:sp>
        <p:nvSpPr>
          <p:cNvPr id="54" name="文本框 53"/>
          <p:cNvSpPr txBox="1"/>
          <p:nvPr>
            <p:custDataLst>
              <p:tags r:id="rId3"/>
            </p:custDataLst>
          </p:nvPr>
        </p:nvSpPr>
        <p:spPr>
          <a:xfrm>
            <a:off x="6431915" y="6418580"/>
            <a:ext cx="4064000" cy="368300"/>
          </a:xfrm>
          <a:prstGeom prst="rect">
            <a:avLst/>
          </a:prstGeom>
          <a:noFill/>
        </p:spPr>
        <p:txBody>
          <a:bodyPr wrap="square" rtlCol="0">
            <a:spAutoFit/>
          </a:bodyPr>
          <a:p>
            <a:r>
              <a:rPr lang="en-US" altLang="zh-CN"/>
              <a:t>pitch = 180 Hz</a:t>
            </a:r>
            <a:endParaRPr lang="en-US" altLang="zh-CN"/>
          </a:p>
        </p:txBody>
      </p:sp>
      <p:pic>
        <p:nvPicPr>
          <p:cNvPr id="3" name="male">
            <a:hlinkClick r:id="" action="ppaction://media"/>
          </p:cNvPr>
          <p:cNvPicPr/>
          <p:nvPr>
            <a:audioFile r:link="rId4"/>
            <p:extLst>
              <p:ext uri="{DAA4B4D4-6D71-4841-9C94-3DE7FCFB9230}">
                <p14:media xmlns:p14="http://schemas.microsoft.com/office/powerpoint/2010/main" r:embed="rId5"/>
              </p:ext>
            </p:extLst>
          </p:nvPr>
        </p:nvPicPr>
        <p:blipFill>
          <a:blip r:embed="rId6"/>
          <a:stretch>
            <a:fillRect/>
          </a:stretch>
        </p:blipFill>
        <p:spPr>
          <a:xfrm>
            <a:off x="1423670" y="1612900"/>
            <a:ext cx="309880" cy="309880"/>
          </a:xfrm>
          <a:prstGeom prst="rect">
            <a:avLst/>
          </a:prstGeom>
        </p:spPr>
      </p:pic>
      <p:pic>
        <p:nvPicPr>
          <p:cNvPr id="5" name="female">
            <a:hlinkClick r:id="" action="ppaction://media"/>
          </p:cNvPr>
          <p:cNvPicPr/>
          <p:nvPr>
            <a:audioFile r:link="rId7"/>
            <p:extLst>
              <p:ext uri="{DAA4B4D4-6D71-4841-9C94-3DE7FCFB9230}">
                <p14:media xmlns:p14="http://schemas.microsoft.com/office/powerpoint/2010/main" r:embed="rId8"/>
              </p:ext>
            </p:extLst>
          </p:nvPr>
        </p:nvPicPr>
        <p:blipFill>
          <a:blip r:embed="rId6"/>
          <a:stretch>
            <a:fillRect/>
          </a:stretch>
        </p:blipFill>
        <p:spPr>
          <a:xfrm>
            <a:off x="7247255" y="1617345"/>
            <a:ext cx="309880" cy="309880"/>
          </a:xfrm>
          <a:prstGeom prst="rect">
            <a:avLst/>
          </a:prstGeom>
        </p:spPr>
      </p:pic>
      <p:pic>
        <p:nvPicPr>
          <p:cNvPr id="6" name="图片 5"/>
          <p:cNvPicPr>
            <a:picLocks noChangeAspect="1"/>
          </p:cNvPicPr>
          <p:nvPr>
            <p:custDataLst>
              <p:tags r:id="rId9"/>
            </p:custDataLst>
          </p:nvPr>
        </p:nvPicPr>
        <p:blipFill>
          <a:blip r:embed="rId10"/>
          <a:srcRect r="16950" b="1000"/>
          <a:stretch>
            <a:fillRect/>
          </a:stretch>
        </p:blipFill>
        <p:spPr>
          <a:xfrm>
            <a:off x="142240" y="1611630"/>
            <a:ext cx="1281430" cy="251460"/>
          </a:xfrm>
          <a:prstGeom prst="rect">
            <a:avLst/>
          </a:prstGeom>
        </p:spPr>
      </p:pic>
      <p:pic>
        <p:nvPicPr>
          <p:cNvPr id="7" name="图片 6"/>
          <p:cNvPicPr>
            <a:picLocks noChangeAspect="1"/>
          </p:cNvPicPr>
          <p:nvPr>
            <p:custDataLst>
              <p:tags r:id="rId11"/>
            </p:custDataLst>
          </p:nvPr>
        </p:nvPicPr>
        <p:blipFill>
          <a:blip r:embed="rId12"/>
          <a:srcRect r="-2223" b="13596"/>
          <a:stretch>
            <a:fillRect/>
          </a:stretch>
        </p:blipFill>
        <p:spPr>
          <a:xfrm>
            <a:off x="5845810" y="1610995"/>
            <a:ext cx="1401445" cy="250190"/>
          </a:xfrm>
          <a:prstGeom prst="rect">
            <a:avLst/>
          </a:prstGeom>
        </p:spPr>
      </p:pic>
    </p:spTree>
    <p:custDataLst>
      <p:tags r:id="rId13"/>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additive="base">
                                        <p:cTn id="6" dur="5368" fill="hold"/>
                                        <p:tgtEl>
                                          <p:spTgt spid="3"/>
                                        </p:tgtEl>
                                      </p:cBhvr>
                                    </p:cmd>
                                  </p:childTnLst>
                                </p:cTn>
                              </p:par>
                            </p:childTnLst>
                          </p:cTn>
                        </p:par>
                        <p:par>
                          <p:cTn id="7" fill="hold">
                            <p:stCondLst>
                              <p:cond delay="5500"/>
                            </p:stCondLst>
                            <p:childTnLst>
                              <p:par>
                                <p:cTn id="8" presetID="1" presetClass="mediacall" presetSubtype="0" fill="hold" nodeType="afterEffect">
                                  <p:stCondLst>
                                    <p:cond delay="0"/>
                                  </p:stCondLst>
                                  <p:childTnLst>
                                    <p:cmd type="call" cmd="playFrom(0.0)">
                                      <p:cBhvr additive="base">
                                        <p:cTn id="9" dur="5308"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p:cTn id="10" fill="hold" display="1">
                  <p:stCondLst>
                    <p:cond delay="indefinite"/>
                  </p:stCondLst>
                  <p:endCondLst>
                    <p:cond evt="onStopAudio">
                      <p:tgtEl>
                        <p:sldTgt/>
                      </p:tgtEl>
                    </p:cond>
                  </p:endCondLst>
                </p:cTn>
                <p:tgtEl>
                  <p:spTgt spid="3"/>
                </p:tgtEl>
              </p:cMediaNode>
            </p:audio>
            <p:audio>
              <p:cMediaNode>
                <p:cTn id="11" fill="hold" display="1">
                  <p:stCondLst>
                    <p:cond delay="indefinite"/>
                  </p:stCondLst>
                  <p:endCondLst>
                    <p:cond evt="onStopAudio">
                      <p:tgtEl>
                        <p:sldTgt/>
                      </p:tgtEl>
                    </p:cond>
                  </p:endCondLst>
                </p:cTn>
                <p:tgtEl>
                  <p:spTgt spid="5"/>
                </p:tgtEl>
              </p:cMediaNode>
            </p:audi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Results Analysis: Vocal Tract</a:t>
            </a:r>
            <a:endParaRPr lang="en-US" altLang="zh-CN"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pic>
        <p:nvPicPr>
          <p:cNvPr id="5" name="图片 4"/>
          <p:cNvPicPr>
            <a:picLocks noChangeAspect="1"/>
          </p:cNvPicPr>
          <p:nvPr>
            <p:custDataLst>
              <p:tags r:id="rId1"/>
            </p:custDataLst>
          </p:nvPr>
        </p:nvPicPr>
        <p:blipFill>
          <a:blip r:embed="rId2"/>
          <a:stretch>
            <a:fillRect/>
          </a:stretch>
        </p:blipFill>
        <p:spPr>
          <a:xfrm>
            <a:off x="2175510" y="2427605"/>
            <a:ext cx="7839075" cy="3924300"/>
          </a:xfrm>
          <a:prstGeom prst="rect">
            <a:avLst/>
          </a:prstGeom>
        </p:spPr>
      </p:pic>
      <mc:AlternateContent xmlns:mc="http://schemas.openxmlformats.org/markup-compatibility/2006">
        <mc:Choice xmlns:a14="http://schemas.microsoft.com/office/drawing/2010/main" Requires="a14">
          <p:sp>
            <p:nvSpPr>
              <p:cNvPr id="6" name="文本框 5"/>
              <p:cNvSpPr txBox="1"/>
              <p:nvPr/>
            </p:nvSpPr>
            <p:spPr>
              <a:xfrm>
                <a:off x="2947035" y="1482725"/>
                <a:ext cx="6297930" cy="551815"/>
              </a:xfrm>
              <a:prstGeom prst="rect">
                <a:avLst/>
              </a:prstGeom>
              <a:noFill/>
            </p:spPr>
            <p:txBody>
              <a:bodyPr wrap="square" rtlCol="0">
                <a:spAutoFit/>
              </a:bodyPr>
              <a:p>
                <a:r>
                  <a:rPr lang="en-US" altLang="zh-CN">
                    <a:latin typeface="Cambria Math" panose="02040503050406030204" charset="0"/>
                    <a:cs typeface="Cambria Math" panose="02040503050406030204" charset="0"/>
                  </a:rPr>
                  <a:t>LPC method : </a:t>
                </a:r>
                <a14:m>
                  <m:oMath xmlns:m="http://schemas.openxmlformats.org/officeDocument/2006/math">
                    <m:r>
                      <a:rPr lang="en-US" altLang="zh-CN" b="1" i="1">
                        <a:latin typeface="Cambria Math" panose="02040503050406030204" charset="0"/>
                        <a:cs typeface="Cambria Math" panose="02040503050406030204" charset="0"/>
                      </a:rPr>
                      <m:t>𝑯</m:t>
                    </m:r>
                    <m:r>
                      <a:rPr lang="en-US" altLang="zh-CN" b="1" i="1">
                        <a:latin typeface="Cambria Math" panose="02040503050406030204" charset="0"/>
                        <a:cs typeface="Cambria Math" panose="02040503050406030204" charset="0"/>
                      </a:rPr>
                      <m:t>(</m:t>
                    </m:r>
                    <m:r>
                      <a:rPr lang="en-US" altLang="zh-CN" b="1" i="1">
                        <a:latin typeface="Cambria Math" panose="02040503050406030204" charset="0"/>
                        <a:cs typeface="Cambria Math" panose="02040503050406030204" charset="0"/>
                      </a:rPr>
                      <m:t>𝒛</m:t>
                    </m:r>
                    <m:r>
                      <a:rPr lang="en-US" altLang="zh-CN" b="1" i="1">
                        <a:latin typeface="Cambria Math" panose="02040503050406030204" charset="0"/>
                        <a:cs typeface="Cambria Math" panose="02040503050406030204" charset="0"/>
                      </a:rPr>
                      <m:t>) = </m:t>
                    </m:r>
                    <m:f>
                      <m:fPr>
                        <m:ctrlPr>
                          <a:rPr lang="en-US" altLang="zh-CN" b="1" i="1">
                            <a:latin typeface="Cambria Math" panose="02040503050406030204" charset="0"/>
                            <a:cs typeface="Cambria Math" panose="02040503050406030204" charset="0"/>
                          </a:rPr>
                        </m:ctrlPr>
                      </m:fPr>
                      <m:num>
                        <m:r>
                          <a:rPr lang="en-US" altLang="zh-CN" b="1" i="1">
                            <a:latin typeface="Cambria Math" panose="02040503050406030204" charset="0"/>
                            <a:cs typeface="Cambria Math" panose="02040503050406030204" charset="0"/>
                          </a:rPr>
                          <m:t>𝑺</m:t>
                        </m:r>
                        <m:r>
                          <a:rPr lang="en-US" altLang="zh-CN" b="1" i="1">
                            <a:latin typeface="Cambria Math" panose="02040503050406030204" charset="0"/>
                            <a:cs typeface="Cambria Math" panose="02040503050406030204" charset="0"/>
                          </a:rPr>
                          <m:t>(</m:t>
                        </m:r>
                        <m:r>
                          <a:rPr lang="en-US" altLang="zh-CN" b="1" i="1">
                            <a:latin typeface="Cambria Math" panose="02040503050406030204" charset="0"/>
                            <a:cs typeface="Cambria Math" panose="02040503050406030204" charset="0"/>
                          </a:rPr>
                          <m:t>𝒛</m:t>
                        </m:r>
                        <m:r>
                          <a:rPr lang="en-US" altLang="zh-CN" b="1" i="1">
                            <a:latin typeface="Cambria Math" panose="02040503050406030204" charset="0"/>
                            <a:cs typeface="Cambria Math" panose="02040503050406030204" charset="0"/>
                          </a:rPr>
                          <m:t>)</m:t>
                        </m:r>
                      </m:num>
                      <m:den>
                        <m:r>
                          <a:rPr lang="en-US" altLang="zh-CN" b="1" i="1">
                            <a:latin typeface="Cambria Math" panose="02040503050406030204" charset="0"/>
                            <a:cs typeface="Cambria Math" panose="02040503050406030204" charset="0"/>
                          </a:rPr>
                          <m:t>𝑮𝑼</m:t>
                        </m:r>
                        <m:r>
                          <a:rPr lang="en-US" altLang="zh-CN" b="1" i="1">
                            <a:latin typeface="Cambria Math" panose="02040503050406030204" charset="0"/>
                            <a:cs typeface="Cambria Math" panose="02040503050406030204" charset="0"/>
                          </a:rPr>
                          <m:t>(</m:t>
                        </m:r>
                        <m:r>
                          <a:rPr lang="en-US" altLang="zh-CN" b="1" i="1">
                            <a:latin typeface="Cambria Math" panose="02040503050406030204" charset="0"/>
                            <a:cs typeface="Cambria Math" panose="02040503050406030204" charset="0"/>
                          </a:rPr>
                          <m:t>𝒛</m:t>
                        </m:r>
                        <m:r>
                          <a:rPr lang="en-US" altLang="zh-CN" b="1" i="1">
                            <a:latin typeface="Cambria Math" panose="02040503050406030204" charset="0"/>
                            <a:cs typeface="Cambria Math" panose="02040503050406030204" charset="0"/>
                          </a:rPr>
                          <m:t>)</m:t>
                        </m:r>
                      </m:den>
                    </m:f>
                    <m:r>
                      <a:rPr lang="en-US" altLang="zh-CN" b="1" i="1">
                        <a:latin typeface="Cambria Math" panose="02040503050406030204" charset="0"/>
                        <a:cs typeface="Cambria Math" panose="02040503050406030204" charset="0"/>
                      </a:rPr>
                      <m:t> = </m:t>
                    </m:r>
                    <m:f>
                      <m:fPr>
                        <m:ctrlPr>
                          <a:rPr lang="en-US" altLang="zh-CN" b="1" i="1">
                            <a:latin typeface="Cambria Math" panose="02040503050406030204" charset="0"/>
                            <a:cs typeface="Cambria Math" panose="02040503050406030204" charset="0"/>
                          </a:rPr>
                        </m:ctrlPr>
                      </m:fPr>
                      <m:num>
                        <m:r>
                          <a:rPr lang="en-US" altLang="zh-CN" b="1" i="1">
                            <a:latin typeface="Cambria Math" panose="02040503050406030204" charset="0"/>
                            <a:cs typeface="Cambria Math" panose="02040503050406030204" charset="0"/>
                          </a:rPr>
                          <m:t>𝟏</m:t>
                        </m:r>
                      </m:num>
                      <m:den>
                        <m:r>
                          <a:rPr lang="en-US" altLang="zh-CN" b="1" i="1">
                            <a:latin typeface="Cambria Math" panose="02040503050406030204" charset="0"/>
                            <a:cs typeface="Cambria Math" panose="02040503050406030204" charset="0"/>
                          </a:rPr>
                          <m:t>𝟏</m:t>
                        </m:r>
                        <m:r>
                          <a:rPr lang="en-US" altLang="zh-CN" b="1" i="1">
                            <a:latin typeface="Cambria Math" panose="02040503050406030204" charset="0"/>
                            <a:cs typeface="Cambria Math" panose="02040503050406030204" charset="0"/>
                          </a:rPr>
                          <m:t>−</m:t>
                        </m:r>
                        <m:nary>
                          <m:naryPr>
                            <m:chr m:val="∑"/>
                            <m:limLoc m:val="undOvr"/>
                            <m:ctrlPr>
                              <a:rPr lang="en-US" altLang="zh-CN" b="1" i="1">
                                <a:latin typeface="Cambria Math" panose="02040503050406030204" charset="0"/>
                                <a:cs typeface="Cambria Math" panose="02040503050406030204" charset="0"/>
                              </a:rPr>
                            </m:ctrlPr>
                          </m:naryPr>
                          <m:sub>
                            <m:r>
                              <a:rPr lang="en-US" altLang="zh-CN" b="1" i="1">
                                <a:latin typeface="Cambria Math" panose="02040503050406030204" charset="0"/>
                                <a:cs typeface="Cambria Math" panose="02040503050406030204" charset="0"/>
                              </a:rPr>
                              <m:t>𝒌</m:t>
                            </m:r>
                            <m:r>
                              <a:rPr lang="en-US" altLang="zh-CN" b="1" i="1">
                                <a:latin typeface="Cambria Math" panose="02040503050406030204" charset="0"/>
                                <a:cs typeface="Cambria Math" panose="02040503050406030204" charset="0"/>
                              </a:rPr>
                              <m:t>=</m:t>
                            </m:r>
                            <m:r>
                              <a:rPr lang="en-US" altLang="zh-CN" b="1" i="1">
                                <a:latin typeface="Cambria Math" panose="02040503050406030204" charset="0"/>
                                <a:cs typeface="Cambria Math" panose="02040503050406030204" charset="0"/>
                              </a:rPr>
                              <m:t>𝟏</m:t>
                            </m:r>
                          </m:sub>
                          <m:sup>
                            <m:r>
                              <a:rPr lang="en-US" altLang="zh-CN" b="1" i="1">
                                <a:latin typeface="Cambria Math" panose="02040503050406030204" charset="0"/>
                                <a:cs typeface="Cambria Math" panose="02040503050406030204" charset="0"/>
                              </a:rPr>
                              <m:t>𝒑</m:t>
                            </m:r>
                          </m:sup>
                          <m:e>
                            <m:sSub>
                              <m:sSubPr>
                                <m:ctrlPr>
                                  <a:rPr lang="en-US" altLang="zh-CN" b="1" i="1">
                                    <a:latin typeface="Cambria Math" panose="02040503050406030204" charset="0"/>
                                    <a:cs typeface="Cambria Math" panose="02040503050406030204" charset="0"/>
                                  </a:rPr>
                                </m:ctrlPr>
                              </m:sSubPr>
                              <m:e>
                                <m:r>
                                  <a:rPr lang="en-US" altLang="zh-CN" b="1" i="1">
                                    <a:latin typeface="Cambria Math" panose="02040503050406030204" charset="0"/>
                                    <a:cs typeface="Cambria Math" panose="02040503050406030204" charset="0"/>
                                  </a:rPr>
                                  <m:t>𝒂</m:t>
                                </m:r>
                              </m:e>
                              <m:sub>
                                <m:r>
                                  <a:rPr lang="en-US" altLang="zh-CN" b="1" i="1">
                                    <a:latin typeface="Cambria Math" panose="02040503050406030204" charset="0"/>
                                    <a:cs typeface="Cambria Math" panose="02040503050406030204" charset="0"/>
                                  </a:rPr>
                                  <m:t>𝒌</m:t>
                                </m:r>
                              </m:sub>
                            </m:sSub>
                            <m:sSup>
                              <m:sSupPr>
                                <m:ctrlPr>
                                  <a:rPr lang="en-US" altLang="zh-CN" b="1" i="1">
                                    <a:latin typeface="Cambria Math" panose="02040503050406030204" charset="0"/>
                                    <a:cs typeface="Cambria Math" panose="02040503050406030204" charset="0"/>
                                  </a:rPr>
                                </m:ctrlPr>
                              </m:sSupPr>
                              <m:e>
                                <m:r>
                                  <a:rPr lang="en-US" altLang="zh-CN" b="1" i="1">
                                    <a:latin typeface="Cambria Math" panose="02040503050406030204" charset="0"/>
                                    <a:cs typeface="Cambria Math" panose="02040503050406030204" charset="0"/>
                                  </a:rPr>
                                  <m:t>𝒛</m:t>
                                </m:r>
                              </m:e>
                              <m:sup>
                                <m:r>
                                  <a:rPr lang="en-US" altLang="zh-CN" b="1" i="1">
                                    <a:latin typeface="Cambria Math" panose="02040503050406030204" charset="0"/>
                                    <a:cs typeface="Cambria Math" panose="02040503050406030204" charset="0"/>
                                  </a:rPr>
                                  <m:t>−</m:t>
                                </m:r>
                                <m:r>
                                  <a:rPr lang="en-US" altLang="zh-CN" b="1" i="1">
                                    <a:latin typeface="Cambria Math" panose="02040503050406030204" charset="0"/>
                                    <a:cs typeface="Cambria Math" panose="02040503050406030204" charset="0"/>
                                  </a:rPr>
                                  <m:t>𝒌</m:t>
                                </m:r>
                              </m:sup>
                            </m:sSup>
                          </m:e>
                        </m:nary>
                      </m:den>
                    </m:f>
                    <m:r>
                      <a:rPr lang="en-US" altLang="zh-CN" b="1" i="1">
                        <a:latin typeface="Cambria Math" panose="02040503050406030204" charset="0"/>
                        <a:cs typeface="Cambria Math" panose="02040503050406030204" charset="0"/>
                      </a:rPr>
                      <m:t> = </m:t>
                    </m:r>
                    <m:f>
                      <m:fPr>
                        <m:ctrlPr>
                          <a:rPr lang="en-US" altLang="zh-CN" b="1" i="1">
                            <a:latin typeface="Cambria Math" panose="02040503050406030204" charset="0"/>
                            <a:cs typeface="Cambria Math" panose="02040503050406030204" charset="0"/>
                          </a:rPr>
                        </m:ctrlPr>
                      </m:fPr>
                      <m:num>
                        <m:r>
                          <a:rPr lang="en-US" altLang="zh-CN" b="1" i="1">
                            <a:latin typeface="Cambria Math" panose="02040503050406030204" charset="0"/>
                            <a:cs typeface="Cambria Math" panose="02040503050406030204" charset="0"/>
                          </a:rPr>
                          <m:t>𝟏</m:t>
                        </m:r>
                      </m:num>
                      <m:den>
                        <m:r>
                          <a:rPr lang="en-US" altLang="zh-CN" b="1" i="1">
                            <a:latin typeface="Cambria Math" panose="02040503050406030204" charset="0"/>
                            <a:cs typeface="Cambria Math" panose="02040503050406030204" charset="0"/>
                          </a:rPr>
                          <m:t>𝑨</m:t>
                        </m:r>
                        <m:r>
                          <a:rPr lang="en-US" altLang="zh-CN" b="1" i="1">
                            <a:latin typeface="Cambria Math" panose="02040503050406030204" charset="0"/>
                            <a:cs typeface="Cambria Math" panose="02040503050406030204" charset="0"/>
                          </a:rPr>
                          <m:t>(</m:t>
                        </m:r>
                        <m:r>
                          <a:rPr lang="en-US" altLang="zh-CN" b="1" i="1">
                            <a:latin typeface="Cambria Math" panose="02040503050406030204" charset="0"/>
                            <a:cs typeface="Cambria Math" panose="02040503050406030204" charset="0"/>
                          </a:rPr>
                          <m:t>𝒛</m:t>
                        </m:r>
                        <m:r>
                          <a:rPr lang="en-US" altLang="zh-CN" b="1" i="1">
                            <a:latin typeface="Cambria Math" panose="02040503050406030204" charset="0"/>
                            <a:cs typeface="Cambria Math" panose="02040503050406030204" charset="0"/>
                          </a:rPr>
                          <m:t>)</m:t>
                        </m:r>
                      </m:den>
                    </m:f>
                  </m:oMath>
                </a14:m>
                <a:endParaRPr lang="zh-CN" altLang="en-US" b="1"/>
              </a:p>
            </p:txBody>
          </p:sp>
        </mc:Choice>
        <mc:Fallback>
          <p:sp>
            <p:nvSpPr>
              <p:cNvPr id="6" name="文本框 5"/>
              <p:cNvSpPr txBox="1">
                <a:spLocks noRot="1" noChangeAspect="1" noMove="1" noResize="1" noEditPoints="1" noAdjustHandles="1" noChangeArrowheads="1" noChangeShapeType="1" noTextEdit="1"/>
              </p:cNvSpPr>
              <p:nvPr/>
            </p:nvSpPr>
            <p:spPr>
              <a:xfrm>
                <a:off x="2947035" y="1482725"/>
                <a:ext cx="6297930" cy="551815"/>
              </a:xfrm>
              <a:prstGeom prst="rect">
                <a:avLst/>
              </a:prstGeom>
              <a:blipFill rotWithShape="1">
                <a:blip r:embed="rId3"/>
                <a:stretch>
                  <a:fillRect/>
                </a:stretch>
              </a:blipFill>
            </p:spPr>
            <p:txBody>
              <a:bodyPr/>
              <a:lstStyle/>
              <a:p>
                <a:r>
                  <a:rPr lang="zh-CN" altLang="en-US">
                    <a:noFill/>
                  </a:rPr>
                  <a:t> </a:t>
                </a:r>
              </a:p>
            </p:txBody>
          </p:sp>
        </mc:Fallback>
      </mc:AlternateContent>
    </p:spTree>
    <p:custDataLst>
      <p:tags r:id="rId4"/>
    </p:custData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Results Analysis: Formants</a:t>
            </a:r>
            <a:endParaRPr lang="en-US" altLang="zh-CN"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pic>
        <p:nvPicPr>
          <p:cNvPr id="3" name="图片 2" descr="f12b7ca33200f9e87bed651da700a22"/>
          <p:cNvPicPr>
            <a:picLocks noChangeAspect="1"/>
          </p:cNvPicPr>
          <p:nvPr/>
        </p:nvPicPr>
        <p:blipFill>
          <a:blip r:embed="rId1"/>
          <a:srcRect b="9533"/>
          <a:stretch>
            <a:fillRect/>
          </a:stretch>
        </p:blipFill>
        <p:spPr>
          <a:xfrm>
            <a:off x="281305" y="1325880"/>
            <a:ext cx="5634355" cy="4085590"/>
          </a:xfrm>
          <a:prstGeom prst="rect">
            <a:avLst/>
          </a:prstGeom>
        </p:spPr>
      </p:pic>
      <p:pic>
        <p:nvPicPr>
          <p:cNvPr id="46" name="图片 45" descr="053ba4006420ab3b9c442101b396de2"/>
          <p:cNvPicPr>
            <a:picLocks noChangeAspect="1"/>
          </p:cNvPicPr>
          <p:nvPr/>
        </p:nvPicPr>
        <p:blipFill>
          <a:blip r:embed="rId2"/>
          <a:srcRect b="11625"/>
          <a:stretch>
            <a:fillRect/>
          </a:stretch>
        </p:blipFill>
        <p:spPr>
          <a:xfrm>
            <a:off x="6082665" y="1422400"/>
            <a:ext cx="5826125" cy="3910330"/>
          </a:xfrm>
          <a:prstGeom prst="rect">
            <a:avLst/>
          </a:prstGeom>
        </p:spPr>
      </p:pic>
      <p:pic>
        <p:nvPicPr>
          <p:cNvPr id="5" name="图片 4"/>
          <p:cNvPicPr>
            <a:picLocks noChangeAspect="1"/>
          </p:cNvPicPr>
          <p:nvPr>
            <p:custDataLst>
              <p:tags r:id="rId3"/>
            </p:custDataLst>
          </p:nvPr>
        </p:nvPicPr>
        <p:blipFill>
          <a:blip r:embed="rId4"/>
          <a:stretch>
            <a:fillRect/>
          </a:stretch>
        </p:blipFill>
        <p:spPr>
          <a:xfrm>
            <a:off x="669925" y="5580380"/>
            <a:ext cx="4505960" cy="745490"/>
          </a:xfrm>
          <a:prstGeom prst="rect">
            <a:avLst/>
          </a:prstGeom>
        </p:spPr>
      </p:pic>
      <p:pic>
        <p:nvPicPr>
          <p:cNvPr id="6" name="图片 5"/>
          <p:cNvPicPr>
            <a:picLocks noChangeAspect="1"/>
          </p:cNvPicPr>
          <p:nvPr>
            <p:custDataLst>
              <p:tags r:id="rId5"/>
            </p:custDataLst>
          </p:nvPr>
        </p:nvPicPr>
        <p:blipFill>
          <a:blip r:embed="rId6"/>
          <a:srcRect r="48380" b="-2308"/>
          <a:stretch>
            <a:fillRect/>
          </a:stretch>
        </p:blipFill>
        <p:spPr>
          <a:xfrm>
            <a:off x="6209665" y="5556250"/>
            <a:ext cx="4636770" cy="788035"/>
          </a:xfrm>
          <a:prstGeom prst="rect">
            <a:avLst/>
          </a:prstGeom>
        </p:spPr>
      </p:pic>
    </p:spTree>
    <p:custDataLst>
      <p:tags r:id="rId7"/>
    </p:custData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dirty="0"/>
              <a:t>Thinking</a:t>
            </a:r>
            <a:endParaRPr lang="zh-CN" altLang="en-US" dirty="0"/>
          </a:p>
        </p:txBody>
      </p:sp>
      <p:sp>
        <p:nvSpPr>
          <p:cNvPr id="9" name="文本框 8"/>
          <p:cNvSpPr txBox="1"/>
          <p:nvPr/>
        </p:nvSpPr>
        <p:spPr>
          <a:xfrm>
            <a:off x="5485862" y="2349795"/>
            <a:ext cx="1139326" cy="990601"/>
          </a:xfrm>
          <a:prstGeom prst="rect">
            <a:avLst/>
          </a:prstGeom>
          <a:noFill/>
          <a:ln w="117475">
            <a:noFill/>
          </a:ln>
        </p:spPr>
        <p:txBody>
          <a:bodyPr wrap="none" rtlCol="0">
            <a:prstTxWarp prst="textPlain">
              <a:avLst/>
            </a:prstTxWarp>
            <a:spAutoFit/>
          </a:bodyPr>
          <a:lstStyle/>
          <a:p>
            <a:pPr algn="ctr"/>
            <a:r>
              <a:rPr lang="en-US" altLang="zh-CN" spc="100" dirty="0">
                <a:solidFill>
                  <a:schemeClr val="accent1"/>
                </a:solidFill>
                <a:latin typeface="Impact" panose="020B0806030902050204" pitchFamily="34" charset="0"/>
                <a:cs typeface="Arial" panose="020B0604020202020204" pitchFamily="34" charset="0"/>
              </a:rPr>
              <a:t>/03</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1"/>
    </p:custData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Improvement</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grpSp>
        <p:nvGrpSpPr>
          <p:cNvPr id="5" name="组合 4"/>
          <p:cNvGrpSpPr/>
          <p:nvPr/>
        </p:nvGrpSpPr>
        <p:grpSpPr>
          <a:xfrm>
            <a:off x="644951" y="1358900"/>
            <a:ext cx="8146112" cy="4627880"/>
            <a:chOff x="644951" y="1358900"/>
            <a:chExt cx="8146112" cy="4627880"/>
          </a:xfrm>
        </p:grpSpPr>
        <p:sp>
          <p:nvSpPr>
            <p:cNvPr id="6" name="îṥḷíḓé"/>
            <p:cNvSpPr/>
            <p:nvPr/>
          </p:nvSpPr>
          <p:spPr>
            <a:xfrm>
              <a:off x="3725017" y="1358900"/>
              <a:ext cx="4627880" cy="4627880"/>
            </a:xfrm>
            <a:prstGeom prst="ellipse">
              <a:avLst/>
            </a:prstGeom>
            <a:noFill/>
            <a:ln>
              <a:solidFill>
                <a:schemeClr val="tx2">
                  <a:alpha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nvGrpSpPr>
            <p:cNvPr id="7" name="iṥľîḋé"/>
            <p:cNvGrpSpPr/>
            <p:nvPr/>
          </p:nvGrpSpPr>
          <p:grpSpPr>
            <a:xfrm>
              <a:off x="4238958" y="1872840"/>
              <a:ext cx="3600000" cy="3600000"/>
              <a:chOff x="4296000" y="1832200"/>
              <a:chExt cx="3600000" cy="3600000"/>
            </a:xfrm>
          </p:grpSpPr>
          <p:sp>
            <p:nvSpPr>
              <p:cNvPr id="17" name="iśḻídê"/>
              <p:cNvSpPr/>
              <p:nvPr/>
            </p:nvSpPr>
            <p:spPr>
              <a:xfrm flipH="1">
                <a:off x="4296000" y="1832200"/>
                <a:ext cx="3600000" cy="3600000"/>
              </a:xfrm>
              <a:prstGeom prst="blockArc">
                <a:avLst>
                  <a:gd name="adj1" fmla="val 16200000"/>
                  <a:gd name="adj2" fmla="val 5400000"/>
                  <a:gd name="adj3" fmla="val 15000"/>
                </a:avLst>
              </a:prstGeom>
              <a:solidFill>
                <a:schemeClr val="tx2">
                  <a:alpha val="15000"/>
                </a:schemeClr>
              </a:solidFill>
              <a:ln w="50800" cap="flat" cmpd="sng" algn="ctr">
                <a:solidFill>
                  <a:schemeClr val="bg1"/>
                </a:solidFill>
                <a:prstDash val="solid"/>
                <a:miter lim="800000"/>
              </a:ln>
            </p:spPr>
            <p:txBody>
              <a:bodyPr lIns="108000" tIns="108000" rIns="108000" bIns="108000" rtlCol="0" anchor="ctr"/>
              <a:lstStyle/>
              <a:p>
                <a:endParaRPr lang="zh-CN" altLang="en-US">
                  <a:solidFill>
                    <a:schemeClr val="tx1"/>
                  </a:solidFill>
                </a:endParaRPr>
              </a:p>
            </p:txBody>
          </p:sp>
          <p:sp>
            <p:nvSpPr>
              <p:cNvPr id="18" name="ïş1îḓé"/>
              <p:cNvSpPr/>
              <p:nvPr/>
            </p:nvSpPr>
            <p:spPr>
              <a:xfrm flipH="1">
                <a:off x="4296000" y="1832200"/>
                <a:ext cx="3600000" cy="3600000"/>
              </a:xfrm>
              <a:prstGeom prst="blockArc">
                <a:avLst>
                  <a:gd name="adj1" fmla="val 5400000"/>
                  <a:gd name="adj2" fmla="val 16200000"/>
                  <a:gd name="adj3" fmla="val 15000"/>
                </a:avLst>
              </a:prstGeom>
              <a:solidFill>
                <a:schemeClr val="tx2">
                  <a:alpha val="15000"/>
                </a:schemeClr>
              </a:solidFill>
              <a:ln w="50800" cap="flat" cmpd="sng" algn="ctr">
                <a:solidFill>
                  <a:schemeClr val="bg1"/>
                </a:solidFill>
                <a:prstDash val="solid"/>
                <a:miter lim="800000"/>
              </a:ln>
            </p:spPr>
            <p:txBody>
              <a:bodyPr lIns="108000" tIns="108000" rIns="108000" bIns="108000" rtlCol="0" anchor="ctr"/>
              <a:lstStyle/>
              <a:p>
                <a:endParaRPr lang="zh-CN" altLang="en-US">
                  <a:solidFill>
                    <a:schemeClr val="tx1"/>
                  </a:solidFill>
                </a:endParaRPr>
              </a:p>
            </p:txBody>
          </p:sp>
        </p:grpSp>
        <p:sp>
          <p:nvSpPr>
            <p:cNvPr id="8" name="ïṧľíḓé"/>
            <p:cNvSpPr txBox="1"/>
            <p:nvPr/>
          </p:nvSpPr>
          <p:spPr>
            <a:xfrm>
              <a:off x="3314138" y="3004990"/>
              <a:ext cx="1335700" cy="1335700"/>
            </a:xfrm>
            <a:prstGeom prst="roundRect">
              <a:avLst>
                <a:gd name="adj" fmla="val 50000"/>
              </a:avLst>
            </a:prstGeom>
            <a:solidFill>
              <a:schemeClr val="accent1"/>
            </a:solidFill>
            <a:ln w="25400">
              <a:solidFill>
                <a:schemeClr val="bg1"/>
              </a:solidFill>
            </a:ln>
          </p:spPr>
          <p:txBody>
            <a:bodyPr wrap="none" lIns="108000" tIns="108000" rIns="108000" bIns="108000" rtlCol="0" anchor="ctr" anchorCtr="0">
              <a:noAutofit/>
            </a:bodyPr>
            <a:lstStyle/>
            <a:p>
              <a:pPr algn="ctr"/>
              <a:r>
                <a:rPr kumimoji="1" lang="en-US" altLang="zh-CN" sz="1600" b="1" dirty="0">
                  <a:solidFill>
                    <a:schemeClr val="bg1"/>
                  </a:solidFill>
                </a:rPr>
                <a:t>Emphasis </a:t>
              </a:r>
              <a:endParaRPr kumimoji="1" lang="en-US" altLang="zh-CN" sz="1600" b="1" dirty="0">
                <a:solidFill>
                  <a:schemeClr val="bg1"/>
                </a:solidFill>
              </a:endParaRPr>
            </a:p>
            <a:p>
              <a:pPr algn="ctr"/>
              <a:r>
                <a:rPr kumimoji="1" lang="en-US" altLang="zh-CN" sz="1600" b="1" dirty="0">
                  <a:solidFill>
                    <a:schemeClr val="bg1"/>
                  </a:solidFill>
                </a:rPr>
                <a:t>and tone</a:t>
              </a:r>
              <a:endParaRPr kumimoji="1" lang="zh-CN" altLang="en-US" sz="1600" b="1" dirty="0">
                <a:solidFill>
                  <a:schemeClr val="bg1"/>
                </a:solidFill>
              </a:endParaRPr>
            </a:p>
          </p:txBody>
        </p:sp>
        <p:sp>
          <p:nvSpPr>
            <p:cNvPr id="9" name="íšḻíḍè"/>
            <p:cNvSpPr txBox="1"/>
            <p:nvPr/>
          </p:nvSpPr>
          <p:spPr>
            <a:xfrm>
              <a:off x="7455363" y="3004990"/>
              <a:ext cx="1335700" cy="1335700"/>
            </a:xfrm>
            <a:prstGeom prst="roundRect">
              <a:avLst>
                <a:gd name="adj" fmla="val 50000"/>
              </a:avLst>
            </a:prstGeom>
            <a:solidFill>
              <a:schemeClr val="tx2">
                <a:alpha val="80000"/>
              </a:schemeClr>
            </a:solidFill>
            <a:ln w="25400">
              <a:solidFill>
                <a:schemeClr val="bg1"/>
              </a:solidFill>
            </a:ln>
          </p:spPr>
          <p:txBody>
            <a:bodyPr wrap="none" lIns="108000" tIns="108000" rIns="108000" bIns="108000" rtlCol="0" anchor="ctr" anchorCtr="0">
              <a:noAutofit/>
            </a:bodyPr>
            <a:lstStyle/>
            <a:p>
              <a:pPr algn="ctr"/>
              <a:r>
                <a:rPr lang="en-US" altLang="zh-CN" sz="1600" b="0" i="0" dirty="0">
                  <a:solidFill>
                    <a:srgbClr val="333333"/>
                  </a:solidFill>
                  <a:effectLst/>
                  <a:latin typeface="Tahoma" panose="020B0604030504040204" pitchFamily="34" charset="0"/>
                </a:rPr>
                <a:t>Introducing </a:t>
              </a:r>
              <a:endParaRPr lang="en-US" altLang="zh-CN" sz="1600" b="0" i="0" dirty="0">
                <a:solidFill>
                  <a:srgbClr val="333333"/>
                </a:solidFill>
                <a:effectLst/>
                <a:latin typeface="Tahoma" panose="020B0604030504040204" pitchFamily="34" charset="0"/>
              </a:endParaRPr>
            </a:p>
            <a:p>
              <a:pPr algn="ctr"/>
              <a:r>
                <a:rPr lang="en-US" altLang="zh-CN" sz="1600" b="0" i="0" dirty="0">
                  <a:solidFill>
                    <a:srgbClr val="333333"/>
                  </a:solidFill>
                  <a:effectLst/>
                  <a:latin typeface="Tahoma" panose="020B0604030504040204" pitchFamily="34" charset="0"/>
                </a:rPr>
                <a:t>the latest </a:t>
              </a:r>
              <a:endParaRPr lang="en-US" altLang="zh-CN" sz="1600" b="0" i="0" dirty="0">
                <a:solidFill>
                  <a:srgbClr val="333333"/>
                </a:solidFill>
                <a:effectLst/>
                <a:latin typeface="Tahoma" panose="020B0604030504040204" pitchFamily="34" charset="0"/>
              </a:endParaRPr>
            </a:p>
            <a:p>
              <a:pPr algn="ctr"/>
              <a:r>
                <a:rPr lang="en-US" altLang="zh-CN" sz="1600" b="0" i="0" dirty="0">
                  <a:solidFill>
                    <a:srgbClr val="333333"/>
                  </a:solidFill>
                  <a:effectLst/>
                  <a:latin typeface="Tahoma" panose="020B0604030504040204" pitchFamily="34" charset="0"/>
                </a:rPr>
                <a:t>technology</a:t>
              </a:r>
              <a:endParaRPr kumimoji="1" lang="zh-CN" altLang="en-US" sz="1600" b="1" dirty="0">
                <a:solidFill>
                  <a:schemeClr val="bg1"/>
                </a:solidFill>
              </a:endParaRPr>
            </a:p>
          </p:txBody>
        </p:sp>
        <p:sp>
          <p:nvSpPr>
            <p:cNvPr id="10" name="íSľíḓè"/>
            <p:cNvSpPr/>
            <p:nvPr/>
          </p:nvSpPr>
          <p:spPr>
            <a:xfrm>
              <a:off x="4778957" y="2412840"/>
              <a:ext cx="2520000" cy="2520000"/>
            </a:xfrm>
            <a:prstGeom prst="roundRect">
              <a:avLst>
                <a:gd name="adj" fmla="val 50000"/>
              </a:avLst>
            </a:prstGeom>
            <a:blipFill>
              <a:blip r:embed="rId1"/>
              <a:stretch>
                <a:fillRect l="-30151" r="-29849"/>
              </a:stretch>
            </a:blipFill>
            <a:ln w="508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p>
          </p:txBody>
        </p:sp>
        <p:sp>
          <p:nvSpPr>
            <p:cNvPr id="11" name="îṧḻîḓe"/>
            <p:cNvSpPr txBox="1"/>
            <p:nvPr/>
          </p:nvSpPr>
          <p:spPr>
            <a:xfrm>
              <a:off x="4493343" y="1691148"/>
              <a:ext cx="1120876" cy="936347"/>
            </a:xfrm>
            <a:prstGeom prst="roundRect">
              <a:avLst>
                <a:gd name="adj" fmla="val 50000"/>
              </a:avLst>
            </a:prstGeom>
            <a:solidFill>
              <a:schemeClr val="accent1">
                <a:alpha val="70000"/>
              </a:schemeClr>
            </a:solidFill>
            <a:ln w="12700">
              <a:solidFill>
                <a:schemeClr val="bg1"/>
              </a:solidFill>
            </a:ln>
          </p:spPr>
          <p:txBody>
            <a:bodyPr wrap="none" lIns="108000" tIns="108000" rIns="108000" bIns="108000" rtlCol="0" anchor="ctr" anchorCtr="0">
              <a:noAutofit/>
            </a:bodyPr>
            <a:lstStyle/>
            <a:p>
              <a:pPr algn="ctr"/>
              <a:r>
                <a:rPr kumimoji="1" lang="en-US" altLang="zh-CN" sz="1400" b="1" dirty="0">
                  <a:solidFill>
                    <a:schemeClr val="bg1"/>
                  </a:solidFill>
                </a:rPr>
                <a:t>Speed </a:t>
              </a:r>
              <a:endParaRPr kumimoji="1" lang="en-US" altLang="zh-CN" sz="1400" b="1" dirty="0">
                <a:solidFill>
                  <a:schemeClr val="bg1"/>
                </a:solidFill>
              </a:endParaRPr>
            </a:p>
            <a:p>
              <a:pPr algn="ctr"/>
              <a:r>
                <a:rPr kumimoji="1" lang="en-US" altLang="zh-CN" sz="1400" b="1" dirty="0">
                  <a:solidFill>
                    <a:schemeClr val="bg1"/>
                  </a:solidFill>
                </a:rPr>
                <a:t>and pitch </a:t>
              </a:r>
              <a:endParaRPr kumimoji="1" lang="en-US" altLang="zh-CN" sz="1400" b="1" dirty="0">
                <a:solidFill>
                  <a:schemeClr val="bg1"/>
                </a:solidFill>
              </a:endParaRPr>
            </a:p>
            <a:p>
              <a:pPr algn="ctr"/>
              <a:r>
                <a:rPr kumimoji="1" lang="en-US" altLang="zh-CN" sz="1400" b="1" dirty="0">
                  <a:solidFill>
                    <a:schemeClr val="bg1"/>
                  </a:solidFill>
                </a:rPr>
                <a:t>control</a:t>
              </a:r>
              <a:endParaRPr kumimoji="1" lang="zh-CN" altLang="en-US" sz="1400" b="1" dirty="0">
                <a:solidFill>
                  <a:schemeClr val="bg1"/>
                </a:solidFill>
              </a:endParaRPr>
            </a:p>
          </p:txBody>
        </p:sp>
        <p:sp>
          <p:nvSpPr>
            <p:cNvPr id="12" name="îŝlîďê"/>
            <p:cNvSpPr txBox="1"/>
            <p:nvPr/>
          </p:nvSpPr>
          <p:spPr>
            <a:xfrm>
              <a:off x="6737757" y="1418466"/>
              <a:ext cx="1120876" cy="1209029"/>
            </a:xfrm>
            <a:prstGeom prst="roundRect">
              <a:avLst>
                <a:gd name="adj" fmla="val 50000"/>
              </a:avLst>
            </a:prstGeom>
            <a:solidFill>
              <a:schemeClr val="tx2">
                <a:alpha val="70000"/>
              </a:schemeClr>
            </a:solidFill>
            <a:ln w="12700">
              <a:solidFill>
                <a:schemeClr val="bg1"/>
              </a:solidFill>
            </a:ln>
          </p:spPr>
          <p:txBody>
            <a:bodyPr wrap="none" lIns="108000" tIns="108000" rIns="108000" bIns="108000" rtlCol="0" anchor="ctr" anchorCtr="0">
              <a:noAutofit/>
            </a:bodyPr>
            <a:lstStyle/>
            <a:p>
              <a:pPr algn="ctr"/>
              <a:r>
                <a:rPr kumimoji="1" lang="en-US" altLang="zh-CN" sz="1400" b="1" dirty="0">
                  <a:solidFill>
                    <a:schemeClr val="bg1"/>
                  </a:solidFill>
                </a:rPr>
                <a:t>Focus </a:t>
              </a:r>
              <a:endParaRPr kumimoji="1" lang="en-US" altLang="zh-CN" sz="1400" b="1" dirty="0">
                <a:solidFill>
                  <a:schemeClr val="bg1"/>
                </a:solidFill>
              </a:endParaRPr>
            </a:p>
            <a:p>
              <a:pPr algn="ctr"/>
              <a:r>
                <a:rPr kumimoji="1" lang="en-US" altLang="zh-CN" sz="1400" b="1" dirty="0">
                  <a:solidFill>
                    <a:schemeClr val="bg1"/>
                  </a:solidFill>
                </a:rPr>
                <a:t>on specific </a:t>
              </a:r>
              <a:endParaRPr kumimoji="1" lang="en-US" altLang="zh-CN" sz="1400" b="1" dirty="0">
                <a:solidFill>
                  <a:schemeClr val="bg1"/>
                </a:solidFill>
              </a:endParaRPr>
            </a:p>
            <a:p>
              <a:pPr algn="ctr"/>
              <a:r>
                <a:rPr kumimoji="1" lang="en-US" altLang="zh-CN" sz="1400" b="1" dirty="0">
                  <a:solidFill>
                    <a:schemeClr val="bg1"/>
                  </a:solidFill>
                </a:rPr>
                <a:t>languages </a:t>
              </a:r>
              <a:endParaRPr kumimoji="1" lang="en-US" altLang="zh-CN" sz="1400" b="1" dirty="0">
                <a:solidFill>
                  <a:schemeClr val="bg1"/>
                </a:solidFill>
              </a:endParaRPr>
            </a:p>
            <a:p>
              <a:pPr algn="ctr"/>
              <a:r>
                <a:rPr kumimoji="1" lang="en-US" altLang="zh-CN" sz="1400" b="1" dirty="0">
                  <a:solidFill>
                    <a:schemeClr val="bg1"/>
                  </a:solidFill>
                </a:rPr>
                <a:t>and accents</a:t>
              </a:r>
              <a:endParaRPr kumimoji="1" lang="zh-CN" altLang="en-US" sz="1400" b="1" dirty="0">
                <a:solidFill>
                  <a:schemeClr val="bg1"/>
                </a:solidFill>
              </a:endParaRPr>
            </a:p>
          </p:txBody>
        </p:sp>
        <p:sp>
          <p:nvSpPr>
            <p:cNvPr id="13" name="îşḷiḑê"/>
            <p:cNvSpPr txBox="1"/>
            <p:nvPr/>
          </p:nvSpPr>
          <p:spPr>
            <a:xfrm>
              <a:off x="644951" y="3082838"/>
              <a:ext cx="2785180" cy="1180003"/>
            </a:xfrm>
            <a:prstGeom prst="rect">
              <a:avLst/>
            </a:prstGeom>
            <a:noFill/>
          </p:spPr>
          <p:txBody>
            <a:bodyPr wrap="square" rtlCol="0">
              <a:spAutoFit/>
            </a:bodyPr>
            <a:lstStyle/>
            <a:p>
              <a:pPr>
                <a:lnSpc>
                  <a:spcPct val="120000"/>
                </a:lnSpc>
              </a:pPr>
              <a:r>
                <a:rPr lang="en-US" altLang="zh-CN" sz="1200" dirty="0"/>
                <a:t>Where appropriate, emphasize certain words or express certain emotions by using different tones, volumes, and tones. This can make speech sounds more vivid and expressive</a:t>
              </a:r>
              <a:endParaRPr lang="en-GB" altLang="zh-CN" sz="1200" dirty="0"/>
            </a:p>
          </p:txBody>
        </p:sp>
        <p:sp>
          <p:nvSpPr>
            <p:cNvPr id="15" name="ïŝḻîďê"/>
            <p:cNvSpPr txBox="1"/>
            <p:nvPr/>
          </p:nvSpPr>
          <p:spPr>
            <a:xfrm>
              <a:off x="4119715" y="4670890"/>
              <a:ext cx="1258529" cy="983642"/>
            </a:xfrm>
            <a:prstGeom prst="roundRect">
              <a:avLst>
                <a:gd name="adj" fmla="val 50000"/>
              </a:avLst>
            </a:prstGeom>
            <a:solidFill>
              <a:schemeClr val="accent1">
                <a:alpha val="70000"/>
              </a:schemeClr>
            </a:solidFill>
            <a:ln w="12700">
              <a:solidFill>
                <a:schemeClr val="bg1"/>
              </a:solidFill>
            </a:ln>
          </p:spPr>
          <p:txBody>
            <a:bodyPr wrap="none" lIns="108000" tIns="108000" rIns="108000" bIns="108000" rtlCol="0" anchor="ctr" anchorCtr="0">
              <a:noAutofit/>
            </a:bodyPr>
            <a:lstStyle/>
            <a:p>
              <a:pPr algn="ctr"/>
              <a:r>
                <a:rPr kumimoji="1" lang="en-US" altLang="zh-CN" sz="1400" b="1" dirty="0">
                  <a:solidFill>
                    <a:schemeClr val="bg1"/>
                  </a:solidFill>
                </a:rPr>
                <a:t>Accuracy </a:t>
              </a:r>
              <a:endParaRPr kumimoji="1" lang="en-US" altLang="zh-CN" sz="1400" b="1" dirty="0">
                <a:solidFill>
                  <a:schemeClr val="bg1"/>
                </a:solidFill>
              </a:endParaRPr>
            </a:p>
            <a:p>
              <a:pPr algn="ctr"/>
              <a:r>
                <a:rPr kumimoji="1" lang="en-US" altLang="zh-CN" sz="1400" b="1" dirty="0">
                  <a:solidFill>
                    <a:schemeClr val="bg1"/>
                  </a:solidFill>
                </a:rPr>
                <a:t>and </a:t>
              </a:r>
              <a:endParaRPr kumimoji="1" lang="en-US" altLang="zh-CN" sz="1400" b="1" dirty="0">
                <a:solidFill>
                  <a:schemeClr val="bg1"/>
                </a:solidFill>
              </a:endParaRPr>
            </a:p>
            <a:p>
              <a:pPr algn="ctr"/>
              <a:r>
                <a:rPr kumimoji="1" lang="en-US" altLang="zh-CN" sz="1400" b="1" dirty="0">
                  <a:solidFill>
                    <a:schemeClr val="bg1"/>
                  </a:solidFill>
                </a:rPr>
                <a:t>coherence of </a:t>
              </a:r>
              <a:endParaRPr kumimoji="1" lang="en-US" altLang="zh-CN" sz="1400" b="1" dirty="0">
                <a:solidFill>
                  <a:schemeClr val="bg1"/>
                </a:solidFill>
              </a:endParaRPr>
            </a:p>
            <a:p>
              <a:pPr algn="ctr"/>
              <a:r>
                <a:rPr kumimoji="1" lang="en-US" altLang="zh-CN" sz="1400" b="1" dirty="0">
                  <a:solidFill>
                    <a:schemeClr val="bg1"/>
                  </a:solidFill>
                </a:rPr>
                <a:t>phonemes</a:t>
              </a:r>
              <a:endParaRPr kumimoji="1" lang="zh-CN" altLang="en-US" sz="1400" b="1" dirty="0">
                <a:solidFill>
                  <a:schemeClr val="bg1"/>
                </a:solidFill>
              </a:endParaRPr>
            </a:p>
          </p:txBody>
        </p:sp>
        <p:sp>
          <p:nvSpPr>
            <p:cNvPr id="16" name="íṩlîďê"/>
            <p:cNvSpPr txBox="1"/>
            <p:nvPr/>
          </p:nvSpPr>
          <p:spPr>
            <a:xfrm>
              <a:off x="6737757" y="4730456"/>
              <a:ext cx="1220444" cy="935354"/>
            </a:xfrm>
            <a:prstGeom prst="roundRect">
              <a:avLst>
                <a:gd name="adj" fmla="val 50000"/>
              </a:avLst>
            </a:prstGeom>
            <a:solidFill>
              <a:schemeClr val="tx2">
                <a:alpha val="70000"/>
              </a:schemeClr>
            </a:solidFill>
            <a:ln w="12700">
              <a:solidFill>
                <a:schemeClr val="bg1"/>
              </a:solidFill>
            </a:ln>
          </p:spPr>
          <p:txBody>
            <a:bodyPr wrap="none" lIns="108000" tIns="108000" rIns="108000" bIns="108000" rtlCol="0" anchor="ctr" anchorCtr="0">
              <a:noAutofit/>
            </a:bodyPr>
            <a:lstStyle/>
            <a:p>
              <a:pPr algn="ctr"/>
              <a:r>
                <a:rPr kumimoji="1" lang="en-US" altLang="zh-CN" sz="1400" b="1" dirty="0">
                  <a:solidFill>
                    <a:schemeClr val="bg1"/>
                  </a:solidFill>
                </a:rPr>
                <a:t>User </a:t>
              </a:r>
              <a:endParaRPr kumimoji="1" lang="en-US" altLang="zh-CN" sz="1400" b="1" dirty="0">
                <a:solidFill>
                  <a:schemeClr val="bg1"/>
                </a:solidFill>
              </a:endParaRPr>
            </a:p>
            <a:p>
              <a:pPr algn="ctr"/>
              <a:r>
                <a:rPr kumimoji="1" lang="en-US" altLang="zh-CN" sz="1400" b="1" dirty="0">
                  <a:solidFill>
                    <a:schemeClr val="bg1"/>
                  </a:solidFill>
                </a:rPr>
                <a:t>feedback </a:t>
              </a:r>
              <a:endParaRPr kumimoji="1" lang="en-US" altLang="zh-CN" sz="1400" b="1" dirty="0">
                <a:solidFill>
                  <a:schemeClr val="bg1"/>
                </a:solidFill>
              </a:endParaRPr>
            </a:p>
            <a:p>
              <a:pPr algn="ctr"/>
              <a:r>
                <a:rPr kumimoji="1" lang="en-US" altLang="zh-CN" sz="1400" b="1" dirty="0">
                  <a:solidFill>
                    <a:schemeClr val="bg1"/>
                  </a:solidFill>
                </a:rPr>
                <a:t>and </a:t>
              </a:r>
              <a:endParaRPr kumimoji="1" lang="en-US" altLang="zh-CN" sz="1400" b="1" dirty="0">
                <a:solidFill>
                  <a:schemeClr val="bg1"/>
                </a:solidFill>
              </a:endParaRPr>
            </a:p>
            <a:p>
              <a:pPr algn="ctr"/>
              <a:r>
                <a:rPr kumimoji="1" lang="en-US" altLang="zh-CN" sz="1400" b="1" dirty="0">
                  <a:solidFill>
                    <a:schemeClr val="bg1"/>
                  </a:solidFill>
                </a:rPr>
                <a:t>evaluation</a:t>
              </a:r>
              <a:endParaRPr kumimoji="1" lang="zh-CN" altLang="en-US" sz="1400" b="1" dirty="0">
                <a:solidFill>
                  <a:schemeClr val="bg1"/>
                </a:solidFill>
              </a:endParaRPr>
            </a:p>
          </p:txBody>
        </p:sp>
      </p:grpSp>
      <p:sp>
        <p:nvSpPr>
          <p:cNvPr id="19" name="文本框 18"/>
          <p:cNvSpPr txBox="1"/>
          <p:nvPr/>
        </p:nvSpPr>
        <p:spPr>
          <a:xfrm>
            <a:off x="1574998" y="1328160"/>
            <a:ext cx="3224981" cy="830997"/>
          </a:xfrm>
          <a:prstGeom prst="rect">
            <a:avLst/>
          </a:prstGeom>
          <a:noFill/>
        </p:spPr>
        <p:txBody>
          <a:bodyPr wrap="square" rtlCol="0">
            <a:spAutoFit/>
          </a:bodyPr>
          <a:lstStyle/>
          <a:p>
            <a:r>
              <a:rPr lang="en-US" altLang="zh-CN" sz="1200" dirty="0"/>
              <a:t>By adjusting speed and pitch, make speech sound more natural. Appropriate speed and pitch can increase the intelligibility and fluency of speech.</a:t>
            </a:r>
            <a:endParaRPr lang="zh-CN" altLang="en-US" sz="1200" dirty="0"/>
          </a:p>
        </p:txBody>
      </p:sp>
      <p:sp>
        <p:nvSpPr>
          <p:cNvPr id="20" name="文本框 19"/>
          <p:cNvSpPr txBox="1"/>
          <p:nvPr/>
        </p:nvSpPr>
        <p:spPr>
          <a:xfrm>
            <a:off x="1193619" y="4806602"/>
            <a:ext cx="3045337" cy="1384995"/>
          </a:xfrm>
          <a:prstGeom prst="rect">
            <a:avLst/>
          </a:prstGeom>
          <a:noFill/>
        </p:spPr>
        <p:txBody>
          <a:bodyPr wrap="square" rtlCol="0">
            <a:spAutoFit/>
          </a:bodyPr>
          <a:lstStyle/>
          <a:p>
            <a:r>
              <a:rPr lang="en-US" altLang="zh-CN" sz="1200" b="0" i="0" dirty="0">
                <a:solidFill>
                  <a:srgbClr val="333333"/>
                </a:solidFill>
                <a:effectLst/>
              </a:rPr>
              <a:t>Ensure that the speech synthesis engine can accurately recognize and synthesize different phonemes. Ensure that transitions and connections between phonemes are smooth and natural to avoid staccato or disconnected speech output</a:t>
            </a:r>
            <a:endParaRPr lang="zh-CN" altLang="en-US" sz="1200" dirty="0"/>
          </a:p>
        </p:txBody>
      </p:sp>
      <p:sp>
        <p:nvSpPr>
          <p:cNvPr id="21" name="文本框 20"/>
          <p:cNvSpPr txBox="1"/>
          <p:nvPr/>
        </p:nvSpPr>
        <p:spPr>
          <a:xfrm>
            <a:off x="7912511" y="1256357"/>
            <a:ext cx="3348896" cy="1015663"/>
          </a:xfrm>
          <a:prstGeom prst="rect">
            <a:avLst/>
          </a:prstGeom>
          <a:noFill/>
        </p:spPr>
        <p:txBody>
          <a:bodyPr wrap="square" rtlCol="0">
            <a:spAutoFit/>
          </a:bodyPr>
          <a:lstStyle/>
          <a:p>
            <a:r>
              <a:rPr lang="en-US" altLang="zh-CN" sz="1200" b="0" i="0" dirty="0">
                <a:solidFill>
                  <a:srgbClr val="333333"/>
                </a:solidFill>
                <a:effectLst/>
              </a:rPr>
              <a:t>Different languages and accents have their own unique pronunciation rules and acoustic characteristics, and choosing the right engine can provide more accurate and natural speech output.</a:t>
            </a:r>
            <a:endParaRPr lang="zh-CN" altLang="en-US" sz="1200" dirty="0"/>
          </a:p>
        </p:txBody>
      </p:sp>
      <p:sp>
        <p:nvSpPr>
          <p:cNvPr id="22" name="文本框 21"/>
          <p:cNvSpPr txBox="1"/>
          <p:nvPr/>
        </p:nvSpPr>
        <p:spPr>
          <a:xfrm>
            <a:off x="8791063" y="3078347"/>
            <a:ext cx="2762864" cy="1384995"/>
          </a:xfrm>
          <a:prstGeom prst="rect">
            <a:avLst/>
          </a:prstGeom>
          <a:noFill/>
        </p:spPr>
        <p:txBody>
          <a:bodyPr wrap="square" rtlCol="0">
            <a:spAutoFit/>
          </a:bodyPr>
          <a:lstStyle/>
          <a:p>
            <a:r>
              <a:rPr lang="en-US" altLang="zh-CN" sz="1200" b="0" i="0" dirty="0">
                <a:solidFill>
                  <a:srgbClr val="333333"/>
                </a:solidFill>
                <a:effectLst/>
              </a:rPr>
              <a:t>Keep an eye on the latest technology and research advances in speech synthesis, as well as methods for training using large data sets. These technologies can provide higher quality, more natural speech synthesis effects</a:t>
            </a:r>
            <a:endParaRPr lang="zh-CN" altLang="en-US" sz="1200" dirty="0"/>
          </a:p>
        </p:txBody>
      </p:sp>
      <p:sp>
        <p:nvSpPr>
          <p:cNvPr id="24" name="文本框 23"/>
          <p:cNvSpPr txBox="1"/>
          <p:nvPr/>
        </p:nvSpPr>
        <p:spPr>
          <a:xfrm>
            <a:off x="8123213" y="4927182"/>
            <a:ext cx="3020477" cy="830997"/>
          </a:xfrm>
          <a:prstGeom prst="rect">
            <a:avLst/>
          </a:prstGeom>
          <a:noFill/>
        </p:spPr>
        <p:txBody>
          <a:bodyPr wrap="square" rtlCol="0">
            <a:spAutoFit/>
          </a:bodyPr>
          <a:lstStyle/>
          <a:p>
            <a:r>
              <a:rPr lang="en-US" altLang="zh-CN" sz="1200" dirty="0"/>
              <a:t>Through user feedback and evaluation, understand the performance of the speech synthesis system in different application scenarios</a:t>
            </a:r>
            <a:endParaRPr lang="zh-CN" altLang="en-US" sz="1200" dirty="0"/>
          </a:p>
        </p:txBody>
      </p:sp>
    </p:spTree>
    <p:custDataLst>
      <p:tags r:id="rId2"/>
    </p:custData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Future Application</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grpSp>
        <p:nvGrpSpPr>
          <p:cNvPr id="5" name="组合 4"/>
          <p:cNvGrpSpPr/>
          <p:nvPr/>
        </p:nvGrpSpPr>
        <p:grpSpPr>
          <a:xfrm>
            <a:off x="560134" y="514350"/>
            <a:ext cx="10643965" cy="5686918"/>
            <a:chOff x="638792" y="1274395"/>
            <a:chExt cx="10643965" cy="5686918"/>
          </a:xfrm>
        </p:grpSpPr>
        <p:sp>
          <p:nvSpPr>
            <p:cNvPr id="6" name="文本框 5"/>
            <p:cNvSpPr txBox="1"/>
            <p:nvPr/>
          </p:nvSpPr>
          <p:spPr>
            <a:xfrm>
              <a:off x="3958457" y="1274395"/>
              <a:ext cx="4275086" cy="1107996"/>
            </a:xfrm>
            <a:prstGeom prst="rect">
              <a:avLst/>
            </a:prstGeom>
            <a:noFill/>
          </p:spPr>
          <p:txBody>
            <a:bodyPr wrap="square">
              <a:spAutoFit/>
            </a:bodyPr>
            <a:lstStyle/>
            <a:p>
              <a:pPr marL="0" marR="0" lvl="0" indent="0" algn="ctr" defTabSz="913765" rtl="0" eaLnBrk="1" fontAlgn="auto" latinLnBrk="0" hangingPunct="1">
                <a:lnSpc>
                  <a:spcPct val="100000"/>
                </a:lnSpc>
                <a:spcBef>
                  <a:spcPts val="0"/>
                </a:spcBef>
                <a:spcAft>
                  <a:spcPts val="0"/>
                </a:spcAft>
                <a:buClrTx/>
                <a:buSzPct val="25000"/>
                <a:buFontTx/>
                <a:buNone/>
                <a:defRPr/>
              </a:pPr>
              <a:endParaRPr kumimoji="0" lang="en-US" altLang="zh-CN" sz="6600" b="1" i="0" u="none" strike="noStrike" kern="1200" cap="none" spc="0" normalizeH="0" baseline="0" noProof="0" dirty="0">
                <a:ln>
                  <a:noFill/>
                </a:ln>
                <a:effectLst/>
                <a:uLnTx/>
                <a:uFillTx/>
              </a:endParaRPr>
            </a:p>
          </p:txBody>
        </p:sp>
        <p:grpSp>
          <p:nvGrpSpPr>
            <p:cNvPr id="7" name="组合 6"/>
            <p:cNvGrpSpPr/>
            <p:nvPr/>
          </p:nvGrpSpPr>
          <p:grpSpPr>
            <a:xfrm>
              <a:off x="638792" y="2899136"/>
              <a:ext cx="10643965" cy="4062177"/>
              <a:chOff x="415921" y="2899136"/>
              <a:chExt cx="10643965" cy="4062177"/>
            </a:xfrm>
          </p:grpSpPr>
          <p:cxnSp>
            <p:nvCxnSpPr>
              <p:cNvPr id="8" name="直接连接符 7"/>
              <p:cNvCxnSpPr/>
              <p:nvPr/>
            </p:nvCxnSpPr>
            <p:spPr>
              <a:xfrm>
                <a:off x="686372" y="4339771"/>
                <a:ext cx="10373514"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nvGrpSpPr>
              <p:cNvPr id="9" name="组合 8"/>
              <p:cNvGrpSpPr/>
              <p:nvPr/>
            </p:nvGrpSpPr>
            <p:grpSpPr>
              <a:xfrm>
                <a:off x="415921" y="2899136"/>
                <a:ext cx="2213544" cy="4062177"/>
                <a:chOff x="415921" y="2899136"/>
                <a:chExt cx="2213544" cy="4062177"/>
              </a:xfrm>
            </p:grpSpPr>
            <p:sp>
              <p:nvSpPr>
                <p:cNvPr id="30" name="文本框 29"/>
                <p:cNvSpPr txBox="1"/>
                <p:nvPr/>
              </p:nvSpPr>
              <p:spPr>
                <a:xfrm>
                  <a:off x="721376" y="2899136"/>
                  <a:ext cx="585417" cy="769441"/>
                </a:xfrm>
                <a:prstGeom prst="rect">
                  <a:avLst/>
                </a:prstGeom>
                <a:noFill/>
              </p:spPr>
              <p:txBody>
                <a:bodyPr wrap="square" rtlCol="0">
                  <a:spAutoFit/>
                </a:bodyPr>
                <a:lstStyle/>
                <a:p>
                  <a:pPr algn="ctr"/>
                  <a:r>
                    <a:rPr lang="en-US" altLang="zh-CN" sz="4400" b="1" dirty="0">
                      <a:solidFill>
                        <a:schemeClr val="accent1"/>
                      </a:solidFill>
                    </a:rPr>
                    <a:t>1</a:t>
                  </a:r>
                  <a:endParaRPr lang="zh-CN" altLang="en-US" sz="4400" b="1" dirty="0">
                    <a:solidFill>
                      <a:schemeClr val="accent1"/>
                    </a:solidFill>
                  </a:endParaRPr>
                </a:p>
              </p:txBody>
            </p:sp>
            <p:sp>
              <p:nvSpPr>
                <p:cNvPr id="31" name="文本框 30"/>
                <p:cNvSpPr txBox="1"/>
                <p:nvPr/>
              </p:nvSpPr>
              <p:spPr>
                <a:xfrm>
                  <a:off x="415921" y="3547076"/>
                  <a:ext cx="1708485" cy="738664"/>
                </a:xfrm>
                <a:prstGeom prst="rect">
                  <a:avLst/>
                </a:prstGeom>
                <a:noFill/>
              </p:spPr>
              <p:txBody>
                <a:bodyPr wrap="square" rtlCol="0">
                  <a:spAutoFit/>
                </a:bodyPr>
                <a:lstStyle/>
                <a:p>
                  <a:pPr algn="ctr"/>
                  <a:r>
                    <a:rPr lang="en-US" altLang="zh-CN" sz="1400" b="1" dirty="0">
                      <a:solidFill>
                        <a:schemeClr val="accent1"/>
                      </a:solidFill>
                    </a:rPr>
                    <a:t>Personalized assistants and avatars</a:t>
                  </a:r>
                  <a:endParaRPr lang="en-US" altLang="zh-CN" sz="1400" b="1" dirty="0">
                    <a:solidFill>
                      <a:schemeClr val="accent1"/>
                    </a:solidFill>
                  </a:endParaRPr>
                </a:p>
              </p:txBody>
            </p:sp>
            <p:sp>
              <p:nvSpPr>
                <p:cNvPr id="32" name="文本框 31"/>
                <p:cNvSpPr txBox="1"/>
                <p:nvPr/>
              </p:nvSpPr>
              <p:spPr>
                <a:xfrm>
                  <a:off x="525712" y="4493265"/>
                  <a:ext cx="2103753" cy="2468048"/>
                </a:xfrm>
                <a:prstGeom prst="rect">
                  <a:avLst/>
                </a:prstGeom>
                <a:noFill/>
              </p:spPr>
              <p:txBody>
                <a:bodyPr wrap="square" rtlCol="0">
                  <a:spAutoFit/>
                </a:bodyPr>
                <a:lstStyle>
                  <a:defPPr>
                    <a:defRPr lang="zh-CN"/>
                  </a:defPPr>
                  <a:lvl1pPr>
                    <a:lnSpc>
                      <a:spcPts val="1500"/>
                    </a:lnSpc>
                    <a:defRPr sz="900"/>
                  </a:lvl1pPr>
                </a:lstStyle>
                <a:p>
                  <a:pPr>
                    <a:lnSpc>
                      <a:spcPct val="130000"/>
                    </a:lnSpc>
                  </a:pPr>
                  <a:r>
                    <a:rPr kumimoji="1" lang="en-US" altLang="zh-CN" sz="1200" dirty="0">
                      <a:solidFill>
                        <a:schemeClr val="tx1"/>
                      </a:solidFill>
                      <a:latin typeface="Arial" panose="020B0604020202020204" pitchFamily="34" charset="0"/>
                      <a:ea typeface="微软雅黑" panose="020B0503020204020204" pitchFamily="34" charset="-122"/>
                      <a:sym typeface="Arial" panose="020B0604020202020204" pitchFamily="34" charset="0"/>
                    </a:rPr>
                    <a:t>Text-to-speech enables voice and voice interaction for personalized assistants and avatars. Avatars in smart speakers, smartphones and virtual reality applications can communicate and interact with users using text-to-speech technology.</a:t>
                  </a:r>
                  <a:endParaRPr kumimoji="1" lang="en-US" altLang="zh-CN" sz="1200" dirty="0">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33" name="椭圆 32"/>
                <p:cNvSpPr/>
                <p:nvPr/>
              </p:nvSpPr>
              <p:spPr>
                <a:xfrm>
                  <a:off x="823584" y="4282621"/>
                  <a:ext cx="114300" cy="114300"/>
                </a:xfrm>
                <a:prstGeom prst="ellipse">
                  <a:avLst/>
                </a:prstGeom>
                <a:solidFill>
                  <a:schemeClr val="accent1"/>
                </a:solidFill>
                <a:ln w="12700" cap="rnd">
                  <a:noFill/>
                  <a:prstDash val="solid"/>
                  <a:round/>
                </a:ln>
                <a:effectLst>
                  <a:outerShdw blurRad="254000" dist="127000" algn="ctr"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p>
                  <a:pPr algn="ctr" defTabSz="914400"/>
                  <a:endParaRPr lang="zh-CN" altLang="en-US" sz="1600" b="1">
                    <a:solidFill>
                      <a:srgbClr val="FFFFFF"/>
                    </a:solidFill>
                  </a:endParaRPr>
                </a:p>
              </p:txBody>
            </p:sp>
          </p:grpSp>
          <p:grpSp>
            <p:nvGrpSpPr>
              <p:cNvPr id="10" name="组合 9"/>
              <p:cNvGrpSpPr/>
              <p:nvPr/>
            </p:nvGrpSpPr>
            <p:grpSpPr>
              <a:xfrm>
                <a:off x="2383102" y="2899136"/>
                <a:ext cx="2103753" cy="3824814"/>
                <a:chOff x="2383102" y="2899136"/>
                <a:chExt cx="2103753" cy="3824814"/>
              </a:xfrm>
            </p:grpSpPr>
            <p:sp>
              <p:nvSpPr>
                <p:cNvPr id="26" name="文本框 25"/>
                <p:cNvSpPr txBox="1"/>
                <p:nvPr/>
              </p:nvSpPr>
              <p:spPr>
                <a:xfrm>
                  <a:off x="2753389" y="2899136"/>
                  <a:ext cx="585417" cy="769441"/>
                </a:xfrm>
                <a:prstGeom prst="rect">
                  <a:avLst/>
                </a:prstGeom>
                <a:noFill/>
              </p:spPr>
              <p:txBody>
                <a:bodyPr wrap="square" rtlCol="0">
                  <a:spAutoFit/>
                </a:bodyPr>
                <a:lstStyle/>
                <a:p>
                  <a:pPr algn="ctr"/>
                  <a:r>
                    <a:rPr lang="en-US" altLang="zh-CN" sz="4400" b="1" dirty="0">
                      <a:solidFill>
                        <a:schemeClr val="accent2"/>
                      </a:solidFill>
                    </a:rPr>
                    <a:t>2</a:t>
                  </a:r>
                  <a:endParaRPr lang="zh-CN" altLang="en-US" sz="4400" b="1" dirty="0">
                    <a:solidFill>
                      <a:schemeClr val="accent2"/>
                    </a:solidFill>
                  </a:endParaRPr>
                </a:p>
              </p:txBody>
            </p:sp>
            <p:sp>
              <p:nvSpPr>
                <p:cNvPr id="27" name="文本框 26"/>
                <p:cNvSpPr txBox="1"/>
                <p:nvPr/>
              </p:nvSpPr>
              <p:spPr>
                <a:xfrm>
                  <a:off x="2414373" y="3543957"/>
                  <a:ext cx="1483260" cy="738664"/>
                </a:xfrm>
                <a:prstGeom prst="rect">
                  <a:avLst/>
                </a:prstGeom>
                <a:noFill/>
              </p:spPr>
              <p:txBody>
                <a:bodyPr wrap="square" rtlCol="0">
                  <a:spAutoFit/>
                </a:bodyPr>
                <a:lstStyle/>
                <a:p>
                  <a:pPr algn="ctr"/>
                  <a:r>
                    <a:rPr lang="en-US" altLang="zh-CN" sz="1400" b="1" dirty="0">
                      <a:solidFill>
                        <a:schemeClr val="accent2"/>
                      </a:solidFill>
                    </a:rPr>
                    <a:t>Speech assistance technology</a:t>
                  </a:r>
                  <a:endParaRPr lang="en-US" altLang="zh-CN" sz="1400" b="1" dirty="0">
                    <a:solidFill>
                      <a:schemeClr val="accent2"/>
                    </a:solidFill>
                  </a:endParaRPr>
                </a:p>
              </p:txBody>
            </p:sp>
            <p:sp>
              <p:nvSpPr>
                <p:cNvPr id="28" name="文本框 27"/>
                <p:cNvSpPr txBox="1"/>
                <p:nvPr/>
              </p:nvSpPr>
              <p:spPr>
                <a:xfrm>
                  <a:off x="2383102" y="4495968"/>
                  <a:ext cx="2103753" cy="2227982"/>
                </a:xfrm>
                <a:prstGeom prst="rect">
                  <a:avLst/>
                </a:prstGeom>
                <a:noFill/>
              </p:spPr>
              <p:txBody>
                <a:bodyPr wrap="square" rtlCol="0">
                  <a:spAutoFit/>
                </a:bodyPr>
                <a:lstStyle>
                  <a:defPPr>
                    <a:defRPr lang="zh-CN"/>
                  </a:defPPr>
                  <a:lvl1pPr>
                    <a:lnSpc>
                      <a:spcPts val="1500"/>
                    </a:lnSpc>
                    <a:defRPr sz="900"/>
                  </a:lvl1pPr>
                </a:lstStyle>
                <a:p>
                  <a:pPr>
                    <a:lnSpc>
                      <a:spcPct val="130000"/>
                    </a:lnSpc>
                  </a:pPr>
                  <a:r>
                    <a:rPr kumimoji="1" lang="en-US" altLang="zh-CN" sz="1200" dirty="0">
                      <a:solidFill>
                        <a:schemeClr val="tx1"/>
                      </a:solidFill>
                      <a:latin typeface="Arial" panose="020B0604020202020204" pitchFamily="34" charset="0"/>
                      <a:ea typeface="微软雅黑" panose="020B0503020204020204" pitchFamily="34" charset="-122"/>
                      <a:sym typeface="Arial" panose="020B0604020202020204" pitchFamily="34" charset="0"/>
                    </a:rPr>
                    <a:t>Future apps could help these populations better interact with their digital and physical environments by converting text to speech and providing real-time on-screen reading, voice prompts and voice navigation.</a:t>
                  </a:r>
                  <a:endParaRPr kumimoji="1" lang="en-US" altLang="zh-CN" sz="1200" dirty="0">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29" name="椭圆 28"/>
                <p:cNvSpPr/>
                <p:nvPr/>
              </p:nvSpPr>
              <p:spPr>
                <a:xfrm>
                  <a:off x="2897944" y="4282621"/>
                  <a:ext cx="114300" cy="114300"/>
                </a:xfrm>
                <a:prstGeom prst="ellipse">
                  <a:avLst/>
                </a:prstGeom>
                <a:solidFill>
                  <a:schemeClr val="accent2"/>
                </a:solidFill>
                <a:ln w="12700" cap="rnd">
                  <a:noFill/>
                  <a:prstDash val="solid"/>
                  <a:rou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p>
                  <a:pPr algn="ctr" defTabSz="914400"/>
                  <a:endParaRPr lang="zh-CN" altLang="en-US" sz="2000" b="1">
                    <a:solidFill>
                      <a:schemeClr val="bg1"/>
                    </a:solidFill>
                  </a:endParaRPr>
                </a:p>
              </p:txBody>
            </p:sp>
          </p:grpSp>
          <p:grpSp>
            <p:nvGrpSpPr>
              <p:cNvPr id="11" name="组合 10"/>
              <p:cNvGrpSpPr/>
              <p:nvPr/>
            </p:nvGrpSpPr>
            <p:grpSpPr>
              <a:xfrm>
                <a:off x="4445527" y="2899136"/>
                <a:ext cx="2120669" cy="3797593"/>
                <a:chOff x="4445527" y="2899136"/>
                <a:chExt cx="2120669" cy="3797593"/>
              </a:xfrm>
            </p:grpSpPr>
            <p:sp>
              <p:nvSpPr>
                <p:cNvPr id="22" name="文本框 21"/>
                <p:cNvSpPr txBox="1"/>
                <p:nvPr/>
              </p:nvSpPr>
              <p:spPr>
                <a:xfrm>
                  <a:off x="4816927" y="2899136"/>
                  <a:ext cx="585417" cy="769441"/>
                </a:xfrm>
                <a:prstGeom prst="rect">
                  <a:avLst/>
                </a:prstGeom>
                <a:noFill/>
              </p:spPr>
              <p:txBody>
                <a:bodyPr wrap="square" rtlCol="0">
                  <a:spAutoFit/>
                </a:bodyPr>
                <a:lstStyle/>
                <a:p>
                  <a:pPr algn="ctr"/>
                  <a:r>
                    <a:rPr lang="en-US" altLang="zh-CN" sz="4400" b="1" dirty="0">
                      <a:solidFill>
                        <a:schemeClr val="accent3"/>
                      </a:solidFill>
                    </a:rPr>
                    <a:t>3</a:t>
                  </a:r>
                  <a:endParaRPr lang="zh-CN" altLang="en-US" sz="4400" b="1" dirty="0">
                    <a:solidFill>
                      <a:schemeClr val="accent3"/>
                    </a:solidFill>
                  </a:endParaRPr>
                </a:p>
              </p:txBody>
            </p:sp>
            <p:sp>
              <p:nvSpPr>
                <p:cNvPr id="23" name="文本框 22"/>
                <p:cNvSpPr txBox="1"/>
                <p:nvPr/>
              </p:nvSpPr>
              <p:spPr>
                <a:xfrm>
                  <a:off x="4445527" y="3514664"/>
                  <a:ext cx="1797404" cy="738664"/>
                </a:xfrm>
                <a:prstGeom prst="rect">
                  <a:avLst/>
                </a:prstGeom>
                <a:noFill/>
              </p:spPr>
              <p:txBody>
                <a:bodyPr wrap="square" rtlCol="0">
                  <a:spAutoFit/>
                </a:bodyPr>
                <a:lstStyle/>
                <a:p>
                  <a:pPr algn="ctr"/>
                  <a:r>
                    <a:rPr lang="en-US" altLang="zh-CN" sz="1400" b="1" dirty="0">
                      <a:solidFill>
                        <a:schemeClr val="accent3"/>
                      </a:solidFill>
                    </a:rPr>
                    <a:t>Multilingual and interlingual communication</a:t>
                  </a:r>
                  <a:endParaRPr lang="en-US" altLang="zh-CN" sz="1400" b="1" dirty="0">
                    <a:solidFill>
                      <a:schemeClr val="accent3"/>
                    </a:solidFill>
                  </a:endParaRPr>
                </a:p>
              </p:txBody>
            </p:sp>
            <p:sp>
              <p:nvSpPr>
                <p:cNvPr id="24" name="文本框 23"/>
                <p:cNvSpPr txBox="1"/>
                <p:nvPr/>
              </p:nvSpPr>
              <p:spPr>
                <a:xfrm>
                  <a:off x="4511267" y="4468747"/>
                  <a:ext cx="2054929" cy="2227982"/>
                </a:xfrm>
                <a:prstGeom prst="rect">
                  <a:avLst/>
                </a:prstGeom>
                <a:noFill/>
              </p:spPr>
              <p:txBody>
                <a:bodyPr wrap="square" rtlCol="0">
                  <a:spAutoFit/>
                </a:bodyPr>
                <a:lstStyle>
                  <a:defPPr>
                    <a:defRPr lang="zh-CN"/>
                  </a:defPPr>
                  <a:lvl1pPr>
                    <a:lnSpc>
                      <a:spcPts val="1500"/>
                    </a:lnSpc>
                    <a:defRPr sz="900"/>
                  </a:lvl1pPr>
                </a:lstStyle>
                <a:p>
                  <a:pPr>
                    <a:lnSpc>
                      <a:spcPct val="130000"/>
                    </a:lnSpc>
                  </a:pPr>
                  <a:r>
                    <a:rPr kumimoji="1" lang="en-US" altLang="zh-CN" sz="1200" dirty="0">
                      <a:solidFill>
                        <a:schemeClr val="tx1"/>
                      </a:solidFill>
                      <a:latin typeface="Arial" panose="020B0604020202020204" pitchFamily="34" charset="0"/>
                      <a:ea typeface="微软雅黑" panose="020B0503020204020204" pitchFamily="34" charset="-122"/>
                      <a:sym typeface="Arial" panose="020B0604020202020204" pitchFamily="34" charset="0"/>
                    </a:rPr>
                    <a:t>It can convert text to speech in real time and provides speech translation capabilities to support different languages. This can promote communication and understanding between different languages.</a:t>
                  </a:r>
                  <a:endParaRPr kumimoji="1" lang="en-US" altLang="zh-CN" sz="1200" dirty="0">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25" name="椭圆 24"/>
                <p:cNvSpPr/>
                <p:nvPr/>
              </p:nvSpPr>
              <p:spPr>
                <a:xfrm>
                  <a:off x="4972304" y="4282621"/>
                  <a:ext cx="114300" cy="114300"/>
                </a:xfrm>
                <a:prstGeom prst="ellipse">
                  <a:avLst/>
                </a:prstGeom>
                <a:solidFill>
                  <a:schemeClr val="accent3"/>
                </a:solidFill>
                <a:ln w="12700" cap="rnd">
                  <a:noFill/>
                  <a:prstDash val="solid"/>
                  <a:round/>
                </a:ln>
                <a:effectLst>
                  <a:outerShdw blurRad="254000" dist="127000" algn="ctr" rotWithShape="0">
                    <a:schemeClr val="accent5">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p>
                  <a:pPr algn="ctr" defTabSz="914400"/>
                  <a:endParaRPr lang="zh-CN" altLang="en-US" sz="2000" b="1">
                    <a:solidFill>
                      <a:srgbClr val="FFFFFF"/>
                    </a:solidFill>
                  </a:endParaRPr>
                </a:p>
              </p:txBody>
            </p:sp>
          </p:grpSp>
          <p:grpSp>
            <p:nvGrpSpPr>
              <p:cNvPr id="12" name="组合 11"/>
              <p:cNvGrpSpPr/>
              <p:nvPr/>
            </p:nvGrpSpPr>
            <p:grpSpPr>
              <a:xfrm>
                <a:off x="6566196" y="2899136"/>
                <a:ext cx="2054929" cy="4041973"/>
                <a:chOff x="6566196" y="2899136"/>
                <a:chExt cx="2054929" cy="4041973"/>
              </a:xfrm>
            </p:grpSpPr>
            <p:sp>
              <p:nvSpPr>
                <p:cNvPr id="18" name="文本框 17"/>
                <p:cNvSpPr txBox="1"/>
                <p:nvPr/>
              </p:nvSpPr>
              <p:spPr>
                <a:xfrm>
                  <a:off x="6915469" y="2899136"/>
                  <a:ext cx="585417" cy="769441"/>
                </a:xfrm>
                <a:prstGeom prst="rect">
                  <a:avLst/>
                </a:prstGeom>
                <a:noFill/>
              </p:spPr>
              <p:txBody>
                <a:bodyPr wrap="square" rtlCol="0">
                  <a:spAutoFit/>
                </a:bodyPr>
                <a:lstStyle/>
                <a:p>
                  <a:pPr algn="ctr"/>
                  <a:r>
                    <a:rPr lang="en-US" altLang="zh-CN" sz="4400" b="1" dirty="0">
                      <a:solidFill>
                        <a:schemeClr val="accent4"/>
                      </a:solidFill>
                    </a:rPr>
                    <a:t>4</a:t>
                  </a:r>
                  <a:endParaRPr lang="zh-CN" altLang="en-US" sz="4400" b="1" dirty="0">
                    <a:solidFill>
                      <a:schemeClr val="accent4"/>
                    </a:solidFill>
                  </a:endParaRPr>
                </a:p>
              </p:txBody>
            </p:sp>
            <p:sp>
              <p:nvSpPr>
                <p:cNvPr id="19" name="文本框 18"/>
                <p:cNvSpPr txBox="1"/>
                <p:nvPr/>
              </p:nvSpPr>
              <p:spPr>
                <a:xfrm>
                  <a:off x="6710401" y="3514664"/>
                  <a:ext cx="1322526" cy="738664"/>
                </a:xfrm>
                <a:prstGeom prst="rect">
                  <a:avLst/>
                </a:prstGeom>
                <a:noFill/>
              </p:spPr>
              <p:txBody>
                <a:bodyPr wrap="square" rtlCol="0">
                  <a:spAutoFit/>
                </a:bodyPr>
                <a:lstStyle/>
                <a:p>
                  <a:pPr algn="ctr"/>
                  <a:r>
                    <a:rPr lang="en-US" altLang="zh-CN" sz="1400" b="1" dirty="0">
                      <a:solidFill>
                        <a:schemeClr val="accent4"/>
                      </a:solidFill>
                    </a:rPr>
                    <a:t>Media and entertainment experiences</a:t>
                  </a:r>
                  <a:endParaRPr lang="en-US" altLang="zh-CN" sz="1400" b="1" dirty="0">
                    <a:solidFill>
                      <a:schemeClr val="accent4"/>
                    </a:solidFill>
                  </a:endParaRPr>
                </a:p>
              </p:txBody>
            </p:sp>
            <p:sp>
              <p:nvSpPr>
                <p:cNvPr id="20" name="文本框 19"/>
                <p:cNvSpPr txBox="1"/>
                <p:nvPr/>
              </p:nvSpPr>
              <p:spPr>
                <a:xfrm>
                  <a:off x="6566196" y="4473061"/>
                  <a:ext cx="2054929" cy="2468048"/>
                </a:xfrm>
                <a:prstGeom prst="rect">
                  <a:avLst/>
                </a:prstGeom>
                <a:noFill/>
              </p:spPr>
              <p:txBody>
                <a:bodyPr wrap="square" rtlCol="0">
                  <a:spAutoFit/>
                </a:bodyPr>
                <a:lstStyle>
                  <a:defPPr>
                    <a:defRPr lang="zh-CN"/>
                  </a:defPPr>
                  <a:lvl1pPr>
                    <a:lnSpc>
                      <a:spcPts val="1500"/>
                    </a:lnSpc>
                    <a:defRPr sz="900"/>
                  </a:lvl1pPr>
                </a:lstStyle>
                <a:p>
                  <a:pPr>
                    <a:lnSpc>
                      <a:spcPct val="130000"/>
                    </a:lnSpc>
                  </a:pPr>
                  <a:r>
                    <a:rPr kumimoji="1" lang="en-US" altLang="zh-CN" sz="1200" dirty="0">
                      <a:solidFill>
                        <a:schemeClr val="tx1"/>
                      </a:solidFill>
                      <a:latin typeface="Arial" panose="020B0604020202020204" pitchFamily="34" charset="0"/>
                      <a:ea typeface="微软雅黑" panose="020B0503020204020204" pitchFamily="34" charset="-122"/>
                      <a:sym typeface="Arial" panose="020B0604020202020204" pitchFamily="34" charset="0"/>
                    </a:rPr>
                    <a:t>In the realm of e-readers and audio books, text-to-speech converts book content into audio playback. In games and virtual reality, text-to-speech technology can give voice and interaction capabilities to characters and virtual worlds.</a:t>
                  </a:r>
                  <a:endParaRPr kumimoji="1" lang="en-US" altLang="zh-CN" sz="1200" dirty="0">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21" name="椭圆 20"/>
                <p:cNvSpPr/>
                <p:nvPr/>
              </p:nvSpPr>
              <p:spPr>
                <a:xfrm>
                  <a:off x="7046664" y="4282621"/>
                  <a:ext cx="114300" cy="114300"/>
                </a:xfrm>
                <a:prstGeom prst="ellipse">
                  <a:avLst/>
                </a:prstGeom>
                <a:solidFill>
                  <a:schemeClr val="accent4"/>
                </a:solidFill>
                <a:ln w="12700" cap="rnd">
                  <a:noFill/>
                  <a:prstDash val="solid"/>
                  <a:round/>
                </a:ln>
                <a:effectLst>
                  <a:outerShdw blurRad="254000" dist="127000" algn="ctr" rotWithShape="0">
                    <a:schemeClr val="accent4">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p>
                  <a:pPr algn="ctr" defTabSz="914400"/>
                  <a:endParaRPr lang="zh-CN" altLang="en-US" sz="2000" b="1">
                    <a:solidFill>
                      <a:schemeClr val="bg1"/>
                    </a:solidFill>
                  </a:endParaRPr>
                </a:p>
              </p:txBody>
            </p:sp>
          </p:grpSp>
          <p:grpSp>
            <p:nvGrpSpPr>
              <p:cNvPr id="13" name="组合 12"/>
              <p:cNvGrpSpPr/>
              <p:nvPr/>
            </p:nvGrpSpPr>
            <p:grpSpPr>
              <a:xfrm>
                <a:off x="8715961" y="2899136"/>
                <a:ext cx="2103753" cy="4041973"/>
                <a:chOff x="8715961" y="2899136"/>
                <a:chExt cx="2103753" cy="4041973"/>
              </a:xfrm>
            </p:grpSpPr>
            <p:sp>
              <p:nvSpPr>
                <p:cNvPr id="14" name="文本框 13"/>
                <p:cNvSpPr txBox="1"/>
                <p:nvPr/>
              </p:nvSpPr>
              <p:spPr>
                <a:xfrm>
                  <a:off x="9047961" y="2899136"/>
                  <a:ext cx="585417" cy="769441"/>
                </a:xfrm>
                <a:prstGeom prst="rect">
                  <a:avLst/>
                </a:prstGeom>
                <a:noFill/>
              </p:spPr>
              <p:txBody>
                <a:bodyPr wrap="square" rtlCol="0">
                  <a:spAutoFit/>
                </a:bodyPr>
                <a:lstStyle/>
                <a:p>
                  <a:pPr algn="ctr"/>
                  <a:r>
                    <a:rPr lang="en-US" altLang="zh-CN" sz="4400" b="1" dirty="0">
                      <a:solidFill>
                        <a:schemeClr val="accent6"/>
                      </a:solidFill>
                    </a:rPr>
                    <a:t>5</a:t>
                  </a:r>
                  <a:endParaRPr lang="zh-CN" altLang="en-US" sz="4400" b="1" dirty="0">
                    <a:solidFill>
                      <a:schemeClr val="accent6"/>
                    </a:solidFill>
                  </a:endParaRPr>
                </a:p>
              </p:txBody>
            </p:sp>
            <p:sp>
              <p:nvSpPr>
                <p:cNvPr id="15" name="文本框 14"/>
                <p:cNvSpPr txBox="1"/>
                <p:nvPr/>
              </p:nvSpPr>
              <p:spPr>
                <a:xfrm>
                  <a:off x="8715961" y="3543957"/>
                  <a:ext cx="1489970" cy="738664"/>
                </a:xfrm>
                <a:prstGeom prst="rect">
                  <a:avLst/>
                </a:prstGeom>
                <a:noFill/>
              </p:spPr>
              <p:txBody>
                <a:bodyPr wrap="square" rtlCol="0">
                  <a:spAutoFit/>
                </a:bodyPr>
                <a:lstStyle/>
                <a:p>
                  <a:pPr algn="ctr"/>
                  <a:r>
                    <a:rPr lang="en-US" altLang="zh-CN" sz="1400" b="1" dirty="0">
                      <a:solidFill>
                        <a:schemeClr val="accent6"/>
                      </a:solidFill>
                    </a:rPr>
                    <a:t>Customize broadcast and media content</a:t>
                  </a:r>
                  <a:endParaRPr lang="en-US" altLang="zh-CN" sz="1400" b="1" dirty="0">
                    <a:solidFill>
                      <a:schemeClr val="accent6"/>
                    </a:solidFill>
                  </a:endParaRPr>
                </a:p>
              </p:txBody>
            </p:sp>
            <p:sp>
              <p:nvSpPr>
                <p:cNvPr id="16" name="文本框 15"/>
                <p:cNvSpPr txBox="1"/>
                <p:nvPr/>
              </p:nvSpPr>
              <p:spPr>
                <a:xfrm>
                  <a:off x="8715961" y="4473061"/>
                  <a:ext cx="2103753" cy="2468048"/>
                </a:xfrm>
                <a:prstGeom prst="rect">
                  <a:avLst/>
                </a:prstGeom>
                <a:noFill/>
              </p:spPr>
              <p:txBody>
                <a:bodyPr wrap="square" rtlCol="0">
                  <a:spAutoFit/>
                </a:bodyPr>
                <a:lstStyle>
                  <a:defPPr>
                    <a:defRPr lang="zh-CN"/>
                  </a:defPPr>
                  <a:lvl1pPr>
                    <a:lnSpc>
                      <a:spcPts val="1500"/>
                    </a:lnSpc>
                    <a:defRPr sz="900"/>
                  </a:lvl1pPr>
                </a:lstStyle>
                <a:p>
                  <a:pPr>
                    <a:lnSpc>
                      <a:spcPct val="130000"/>
                    </a:lnSpc>
                  </a:pPr>
                  <a:r>
                    <a:rPr kumimoji="1" lang="en-US" altLang="zh-CN" sz="1200" dirty="0">
                      <a:solidFill>
                        <a:schemeClr val="tx1"/>
                      </a:solidFill>
                      <a:latin typeface="Arial" panose="020B0604020202020204" pitchFamily="34" charset="0"/>
                      <a:ea typeface="微软雅黑" panose="020B0503020204020204" pitchFamily="34" charset="-122"/>
                      <a:sym typeface="Arial" panose="020B0604020202020204" pitchFamily="34" charset="0"/>
                    </a:rPr>
                    <a:t>Text-to-speech can be used for customized broadcast and media content generation. By converting text to speech, users can be offered personalized content such as news, podcasts, audio books and radio programs, tailored to their interests and preferences.</a:t>
                  </a:r>
                  <a:endParaRPr kumimoji="1" lang="en-US" altLang="zh-CN" sz="1200" dirty="0">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7" name="椭圆 16"/>
                <p:cNvSpPr/>
                <p:nvPr/>
              </p:nvSpPr>
              <p:spPr>
                <a:xfrm>
                  <a:off x="9121024" y="4282621"/>
                  <a:ext cx="114300" cy="114300"/>
                </a:xfrm>
                <a:prstGeom prst="ellipse">
                  <a:avLst/>
                </a:prstGeom>
                <a:solidFill>
                  <a:schemeClr val="accent6"/>
                </a:solidFill>
                <a:ln w="12700" cap="rnd">
                  <a:noFill/>
                  <a:prstDash val="solid"/>
                  <a:round/>
                </a:ln>
                <a:effectLst>
                  <a:outerShdw blurRad="254000" dist="127000" algn="ctr" rotWithShape="0">
                    <a:schemeClr val="accent6">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25000" lnSpcReduction="20000"/>
                </a:bodyPr>
                <a:lstStyle/>
                <a:p>
                  <a:pPr algn="ctr" defTabSz="914400"/>
                  <a:endParaRPr lang="zh-CN" altLang="en-US" sz="2000" b="1">
                    <a:solidFill>
                      <a:schemeClr val="bg1"/>
                    </a:solidFill>
                  </a:endParaRPr>
                </a:p>
              </p:txBody>
            </p:sp>
          </p:grpSp>
        </p:grpSp>
      </p:grpSp>
    </p:spTree>
    <p:custDataLst>
      <p:tags r:id="rId1"/>
    </p:custData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1" imgW="9525" imgH="9525" progId="TCLayout.ActiveDocument.1">
                  <p:embed/>
                </p:oleObj>
              </mc:Choice>
              <mc:Fallback>
                <p:oleObj name="think-cell Slide" r:id="rId1" imgW="9525" imgH="9525" progId="TCLayout.ActiveDocument.1">
                  <p:embed/>
                  <p:pic>
                    <p:nvPicPr>
                      <p:cNvPr id="0" name="对象 2" hidden="1"/>
                      <p:cNvPicPr/>
                      <p:nvPr/>
                    </p:nvPicPr>
                    <p:blipFill>
                      <a:blip r:embed="rId2"/>
                      <a:stretch>
                        <a:fillRect/>
                      </a:stretch>
                    </p:blipFill>
                    <p:spPr>
                      <a:xfrm>
                        <a:off x="1588" y="1588"/>
                        <a:ext cx="1588" cy="1588"/>
                      </a:xfrm>
                      <a:prstGeom prst="rect">
                        <a:avLst/>
                      </a:prstGeom>
                    </p:spPr>
                  </p:pic>
                </p:oleObj>
              </mc:Fallback>
            </mc:AlternateContent>
          </a:graphicData>
        </a:graphic>
      </p:graphicFrame>
      <p:sp>
        <p:nvSpPr>
          <p:cNvPr id="4" name="矩形 3"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p:txBody>
          <a:bodyPr/>
          <a:lstStyle/>
          <a:p>
            <a:r>
              <a:rPr lang="en-US" altLang="zh-CN" dirty="0"/>
              <a:t>Thank for </a:t>
            </a:r>
            <a:br>
              <a:rPr lang="en-US" altLang="zh-CN" dirty="0"/>
            </a:br>
            <a:r>
              <a:rPr lang="en-US" altLang="zh-CN" dirty="0"/>
              <a:t>your listening</a:t>
            </a:r>
            <a:br>
              <a:rPr lang="en-US" altLang="zh-CN" dirty="0"/>
            </a:br>
            <a:endParaRPr lang="zh-CN" altLang="en-US" dirty="0"/>
          </a:p>
        </p:txBody>
      </p:sp>
    </p:spTree>
    <p:custDataLst>
      <p:tags r:id="rId3"/>
    </p:custData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757282" y="1700808"/>
            <a:ext cx="10763205" cy="4083608"/>
            <a:chOff x="757282" y="1700808"/>
            <a:chExt cx="10763205" cy="4083608"/>
          </a:xfrm>
        </p:grpSpPr>
        <p:grpSp>
          <p:nvGrpSpPr>
            <p:cNvPr id="6" name="2b751056-6b97-492c-b763-340acee7e99d"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757282" y="1700808"/>
              <a:ext cx="10763205" cy="4083608"/>
              <a:chOff x="1175743" y="1700808"/>
              <a:chExt cx="10344744" cy="4083608"/>
            </a:xfrm>
          </p:grpSpPr>
          <p:sp>
            <p:nvSpPr>
              <p:cNvPr id="7" name="iṡľïḑè"/>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250000"/>
                  </a:lnSpc>
                  <a:buFont typeface="+mj-lt"/>
                  <a:buAutoNum type="arabicPeriod"/>
                </a:pPr>
                <a:r>
                  <a:rPr lang="en-US" altLang="zh-CN" sz="3200" b="0" dirty="0">
                    <a:latin typeface="+mn-lt"/>
                    <a:ea typeface="+mn-ea"/>
                    <a:sym typeface="+mn-lt"/>
                  </a:rPr>
                  <a:t>Background</a:t>
                </a:r>
                <a:endParaRPr lang="en-US" altLang="zh-CN" sz="3200" b="0" dirty="0">
                  <a:latin typeface="+mn-lt"/>
                  <a:ea typeface="+mn-ea"/>
                  <a:sym typeface="+mn-lt"/>
                </a:endParaRPr>
              </a:p>
              <a:p>
                <a:pPr marL="342900" indent="-342900">
                  <a:lnSpc>
                    <a:spcPct val="250000"/>
                  </a:lnSpc>
                  <a:buFont typeface="+mj-lt"/>
                  <a:buAutoNum type="arabicPeriod"/>
                </a:pPr>
                <a:r>
                  <a:rPr lang="en-US" altLang="zh-CN" sz="3200" b="0" dirty="0">
                    <a:latin typeface="+mn-lt"/>
                    <a:ea typeface="+mn-ea"/>
                    <a:sym typeface="+mn-lt"/>
                  </a:rPr>
                  <a:t>Implementation</a:t>
                </a:r>
                <a:endParaRPr lang="en-US" altLang="zh-CN" sz="3200" b="0" dirty="0">
                  <a:latin typeface="+mn-lt"/>
                  <a:ea typeface="+mn-ea"/>
                  <a:sym typeface="+mn-lt"/>
                </a:endParaRPr>
              </a:p>
              <a:p>
                <a:pPr marL="342900" indent="-342900">
                  <a:lnSpc>
                    <a:spcPct val="250000"/>
                  </a:lnSpc>
                  <a:buFont typeface="+mj-lt"/>
                  <a:buAutoNum type="arabicPeriod"/>
                </a:pPr>
                <a:r>
                  <a:rPr lang="en-US" altLang="zh-CN" sz="3200" b="0" dirty="0">
                    <a:latin typeface="+mn-lt"/>
                    <a:ea typeface="+mn-ea"/>
                    <a:sym typeface="+mn-lt"/>
                  </a:rPr>
                  <a:t>Thinking</a:t>
                </a:r>
                <a:endParaRPr lang="en-US" altLang="zh-CN" sz="3200" b="0" dirty="0">
                  <a:latin typeface="+mn-lt"/>
                  <a:ea typeface="+mn-ea"/>
                  <a:sym typeface="+mn-lt"/>
                </a:endParaRPr>
              </a:p>
              <a:p>
                <a:pPr>
                  <a:lnSpc>
                    <a:spcPct val="150000"/>
                  </a:lnSpc>
                </a:pPr>
                <a:endParaRPr lang="en-US" altLang="zh-CN" b="0" dirty="0">
                  <a:latin typeface="+mn-lt"/>
                  <a:ea typeface="+mn-ea"/>
                  <a:sym typeface="+mn-lt"/>
                </a:endParaRPr>
              </a:p>
            </p:txBody>
          </p:sp>
          <p:cxnSp>
            <p:nvCxnSpPr>
              <p:cNvPr id="8" name="直接连接符 7"/>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išľïḋé"/>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dirty="0">
                    <a:solidFill>
                      <a:schemeClr val="accent1"/>
                    </a:solidFill>
                    <a:cs typeface="+mn-ea"/>
                    <a:sym typeface="+mn-lt"/>
                  </a:rPr>
                  <a:t>CONTENTS</a:t>
                </a:r>
                <a:endParaRPr lang="tr-TR" sz="2800" b="1" dirty="0">
                  <a:solidFill>
                    <a:schemeClr val="accent1"/>
                  </a:solidFill>
                  <a:cs typeface="+mn-ea"/>
                  <a:sym typeface="+mn-lt"/>
                </a:endParaRPr>
              </a:p>
            </p:txBody>
          </p:sp>
        </p:grpSp>
        <p:sp>
          <p:nvSpPr>
            <p:cNvPr id="10" name="poetry_91022"/>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spTree>
    <p:custDataLst>
      <p:tags r:id="rId1"/>
    </p:custData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dirty="0"/>
              <a:t>Background</a:t>
            </a:r>
            <a:endParaRPr lang="zh-CN" altLang="en-US" dirty="0"/>
          </a:p>
        </p:txBody>
      </p:sp>
      <p:sp>
        <p:nvSpPr>
          <p:cNvPr id="9" name="文本框 8"/>
          <p:cNvSpPr txBox="1"/>
          <p:nvPr/>
        </p:nvSpPr>
        <p:spPr>
          <a:xfrm>
            <a:off x="5485862" y="2349795"/>
            <a:ext cx="1139326" cy="990601"/>
          </a:xfrm>
          <a:prstGeom prst="rect">
            <a:avLst/>
          </a:prstGeom>
          <a:noFill/>
          <a:ln w="117475">
            <a:noFill/>
          </a:ln>
        </p:spPr>
        <p:txBody>
          <a:bodyPr wrap="none" rtlCol="0">
            <a:prstTxWarp prst="textPlain">
              <a:avLst/>
            </a:prstTxWarp>
            <a:spAutoFit/>
          </a:bodyPr>
          <a:lstStyle/>
          <a:p>
            <a:pPr algn="ctr"/>
            <a:r>
              <a:rPr lang="en-US" altLang="zh-CN" spc="100" dirty="0">
                <a:solidFill>
                  <a:schemeClr val="accent1"/>
                </a:solidFill>
                <a:latin typeface="Impact" panose="020B0806030902050204" pitchFamily="34" charset="0"/>
                <a:cs typeface="Arial" panose="020B0604020202020204" pitchFamily="34" charset="0"/>
              </a:rPr>
              <a:t>/01</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1"/>
    </p:custData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图片 99"/>
          <p:cNvPicPr/>
          <p:nvPr/>
        </p:nvPicPr>
        <p:blipFill>
          <a:blip r:embed="rId1"/>
          <a:stretch>
            <a:fillRect/>
          </a:stretch>
        </p:blipFill>
        <p:spPr>
          <a:xfrm>
            <a:off x="8300720" y="2426335"/>
            <a:ext cx="2903220" cy="1537970"/>
          </a:xfrm>
          <a:prstGeom prst="rect">
            <a:avLst/>
          </a:prstGeom>
          <a:noFill/>
          <a:ln w="9525">
            <a:noFill/>
          </a:ln>
        </p:spPr>
      </p:pic>
      <p:sp>
        <p:nvSpPr>
          <p:cNvPr id="2" name="标题 1"/>
          <p:cNvSpPr>
            <a:spLocks noGrp="1"/>
          </p:cNvSpPr>
          <p:nvPr>
            <p:ph type="title"/>
          </p:nvPr>
        </p:nvSpPr>
        <p:spPr/>
        <p:txBody>
          <a:bodyPr/>
          <a:lstStyle/>
          <a:p>
            <a:r>
              <a:rPr lang="en-US" altLang="zh-CN"/>
              <a:t>Background</a:t>
            </a:r>
            <a:endParaRPr lang="zh-CN" altLang="en-US"/>
          </a:p>
        </p:txBody>
      </p:sp>
      <p:sp>
        <p:nvSpPr>
          <p:cNvPr id="3" name="页脚占位符 2"/>
          <p:cNvSpPr>
            <a:spLocks noGrp="1"/>
          </p:cNvSpPr>
          <p:nvPr>
            <p:ph type="ftr" sz="quarter" idx="11"/>
          </p:nvPr>
        </p:nvSpPr>
        <p:spPr/>
        <p:txBody>
          <a:bodyPr/>
          <a:lstStyle/>
          <a:p>
            <a:r>
              <a:rPr lang="en-US" altLang="zh-CN"/>
              <a:t>www.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5" name="文本框 4"/>
          <p:cNvSpPr txBox="1"/>
          <p:nvPr/>
        </p:nvSpPr>
        <p:spPr>
          <a:xfrm>
            <a:off x="749300" y="1697355"/>
            <a:ext cx="8225790" cy="368300"/>
          </a:xfrm>
          <a:prstGeom prst="rect">
            <a:avLst/>
          </a:prstGeom>
          <a:noFill/>
        </p:spPr>
        <p:txBody>
          <a:bodyPr wrap="square" rtlCol="0" anchor="ctr" anchorCtr="0">
            <a:spAutoFit/>
          </a:bodyPr>
          <a:p>
            <a:r>
              <a:rPr lang="zh-CN" altLang="en-US" b="1"/>
              <a:t>Text-to-Speech (TTS)</a:t>
            </a:r>
            <a:r>
              <a:rPr lang="zh-CN" altLang="en-US"/>
              <a:t> </a:t>
            </a:r>
            <a:r>
              <a:rPr lang="en-US" altLang="zh-CN"/>
              <a:t>:</a:t>
            </a:r>
            <a:r>
              <a:rPr lang="zh-CN" altLang="en-US"/>
              <a:t> a system that converts written text into audible speech.</a:t>
            </a:r>
            <a:endParaRPr lang="zh-CN" altLang="en-US"/>
          </a:p>
        </p:txBody>
      </p:sp>
      <p:sp>
        <p:nvSpPr>
          <p:cNvPr id="7" name="文本框 6"/>
          <p:cNvSpPr txBox="1"/>
          <p:nvPr/>
        </p:nvSpPr>
        <p:spPr>
          <a:xfrm>
            <a:off x="749300" y="4327525"/>
            <a:ext cx="3504565" cy="645160"/>
          </a:xfrm>
          <a:prstGeom prst="rect">
            <a:avLst/>
          </a:prstGeom>
          <a:noFill/>
        </p:spPr>
        <p:txBody>
          <a:bodyPr wrap="square" rtlCol="0" anchor="t">
            <a:spAutoFit/>
          </a:bodyPr>
          <a:p>
            <a:r>
              <a:rPr lang="en-US" altLang="zh-CN" b="1"/>
              <a:t>Development:</a:t>
            </a:r>
            <a:endParaRPr lang="en-US" altLang="zh-CN" b="1"/>
          </a:p>
          <a:p>
            <a:r>
              <a:rPr lang="zh-CN" altLang="en-US"/>
              <a:t>Traditional rule-based methods</a:t>
            </a:r>
            <a:r>
              <a:rPr lang="en-US" altLang="zh-CN"/>
              <a:t> </a:t>
            </a:r>
            <a:endParaRPr lang="en-US" altLang="zh-CN"/>
          </a:p>
        </p:txBody>
      </p:sp>
      <p:sp>
        <p:nvSpPr>
          <p:cNvPr id="8" name="文本框 7"/>
          <p:cNvSpPr txBox="1"/>
          <p:nvPr/>
        </p:nvSpPr>
        <p:spPr>
          <a:xfrm>
            <a:off x="749300" y="2426335"/>
            <a:ext cx="6917690" cy="1476375"/>
          </a:xfrm>
          <a:prstGeom prst="rect">
            <a:avLst/>
          </a:prstGeom>
          <a:noFill/>
        </p:spPr>
        <p:txBody>
          <a:bodyPr wrap="square" rtlCol="0">
            <a:spAutoFit/>
          </a:bodyPr>
          <a:p>
            <a:r>
              <a:rPr lang="en-US" altLang="zh-CN" b="1"/>
              <a:t>Application:</a:t>
            </a:r>
            <a:endParaRPr lang="en-US" altLang="zh-CN" b="1"/>
          </a:p>
          <a:p>
            <a:pPr marL="285750" indent="-285750">
              <a:buFont typeface="Arial" panose="020B0604020202020204" pitchFamily="34" charset="0"/>
              <a:buChar char="•"/>
            </a:pPr>
            <a:r>
              <a:rPr lang="en-US" altLang="zh-CN"/>
              <a:t>screen readers</a:t>
            </a:r>
            <a:endParaRPr lang="en-US" altLang="zh-CN"/>
          </a:p>
          <a:p>
            <a:pPr marL="285750" indent="-285750">
              <a:buFont typeface="Arial" panose="020B0604020202020204" pitchFamily="34" charset="0"/>
              <a:buChar char="•"/>
            </a:pPr>
            <a:r>
              <a:rPr lang="en-US" altLang="zh-CN"/>
              <a:t>voice navigation systems</a:t>
            </a:r>
            <a:endParaRPr lang="en-US" altLang="zh-CN"/>
          </a:p>
          <a:p>
            <a:pPr marL="285750" indent="-285750">
              <a:buFont typeface="Arial" panose="020B0604020202020204" pitchFamily="34" charset="0"/>
              <a:buChar char="•"/>
            </a:pPr>
            <a:r>
              <a:rPr lang="en-US" altLang="zh-CN"/>
              <a:t>voice assistants</a:t>
            </a:r>
            <a:endParaRPr lang="en-US" altLang="zh-CN"/>
          </a:p>
          <a:p>
            <a:pPr marL="285750" indent="-285750">
              <a:buFont typeface="Arial" panose="020B0604020202020204" pitchFamily="34" charset="0"/>
              <a:buChar char="•"/>
            </a:pPr>
            <a:r>
              <a:rPr lang="en-US" altLang="zh-CN"/>
              <a:t>human-machine interaction(virtual reality, and robotics)</a:t>
            </a:r>
            <a:endParaRPr lang="en-US" altLang="zh-CN"/>
          </a:p>
        </p:txBody>
      </p:sp>
      <p:cxnSp>
        <p:nvCxnSpPr>
          <p:cNvPr id="9" name="直接箭头连接符 8"/>
          <p:cNvCxnSpPr/>
          <p:nvPr/>
        </p:nvCxnSpPr>
        <p:spPr>
          <a:xfrm>
            <a:off x="4517390" y="4797425"/>
            <a:ext cx="608330" cy="5080"/>
          </a:xfrm>
          <a:prstGeom prst="straightConnector1">
            <a:avLst/>
          </a:prstGeom>
          <a:ln w="19050">
            <a:tailEnd type="arrow" w="med" len="med"/>
          </a:ln>
        </p:spPr>
        <p:style>
          <a:lnRef idx="1">
            <a:schemeClr val="dk1"/>
          </a:lnRef>
          <a:fillRef idx="0">
            <a:schemeClr val="dk1"/>
          </a:fillRef>
          <a:effectRef idx="0">
            <a:schemeClr val="dk1"/>
          </a:effectRef>
          <a:fontRef idx="minor">
            <a:schemeClr val="tx1"/>
          </a:fontRef>
        </p:style>
      </p:cxnSp>
      <p:sp>
        <p:nvSpPr>
          <p:cNvPr id="10" name="文本框 9"/>
          <p:cNvSpPr txBox="1"/>
          <p:nvPr/>
        </p:nvSpPr>
        <p:spPr>
          <a:xfrm>
            <a:off x="5401945" y="4604385"/>
            <a:ext cx="4465320" cy="368300"/>
          </a:xfrm>
          <a:prstGeom prst="rect">
            <a:avLst/>
          </a:prstGeom>
          <a:noFill/>
        </p:spPr>
        <p:txBody>
          <a:bodyPr wrap="square" rtlCol="0" anchor="t">
            <a:spAutoFit/>
          </a:bodyPr>
          <a:p>
            <a:r>
              <a:rPr lang="en-US" altLang="zh-CN">
                <a:sym typeface="+mn-ea"/>
              </a:rPr>
              <a:t>deep learning: end-to-end models</a:t>
            </a:r>
            <a:endParaRPr lang="en-US" altLang="zh-CN">
              <a:sym typeface="+mn-ea"/>
            </a:endParaRPr>
          </a:p>
        </p:txBody>
      </p:sp>
    </p:spTree>
    <p:custDataLst>
      <p:tags r:id="rId2"/>
    </p:custData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dirty="0"/>
              <a:t>Implementation</a:t>
            </a:r>
            <a:endParaRPr lang="zh-CN" altLang="en-US" dirty="0"/>
          </a:p>
        </p:txBody>
      </p:sp>
      <p:sp>
        <p:nvSpPr>
          <p:cNvPr id="9" name="文本框 8"/>
          <p:cNvSpPr txBox="1"/>
          <p:nvPr/>
        </p:nvSpPr>
        <p:spPr>
          <a:xfrm>
            <a:off x="5485862" y="2349795"/>
            <a:ext cx="1139326" cy="990601"/>
          </a:xfrm>
          <a:prstGeom prst="rect">
            <a:avLst/>
          </a:prstGeom>
          <a:noFill/>
          <a:ln w="117475">
            <a:noFill/>
          </a:ln>
        </p:spPr>
        <p:txBody>
          <a:bodyPr wrap="none" rtlCol="0">
            <a:prstTxWarp prst="textPlain">
              <a:avLst/>
            </a:prstTxWarp>
            <a:spAutoFit/>
          </a:bodyPr>
          <a:lstStyle/>
          <a:p>
            <a:pPr algn="ctr"/>
            <a:r>
              <a:rPr lang="en-US" altLang="zh-CN" spc="100" dirty="0">
                <a:solidFill>
                  <a:schemeClr val="accent1"/>
                </a:solidFill>
                <a:latin typeface="Impact" panose="020B0806030902050204" pitchFamily="34" charset="0"/>
                <a:cs typeface="Arial" panose="020B0604020202020204" pitchFamily="34" charset="0"/>
              </a:rPr>
              <a:t>/02</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1"/>
    </p:custData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Theoretical introduction</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grpSp>
        <p:nvGrpSpPr>
          <p:cNvPr id="5" name="组合 4"/>
          <p:cNvGrpSpPr/>
          <p:nvPr/>
        </p:nvGrpSpPr>
        <p:grpSpPr>
          <a:xfrm>
            <a:off x="446752" y="1218521"/>
            <a:ext cx="11298496" cy="4631946"/>
            <a:chOff x="306456" y="1846210"/>
            <a:chExt cx="12215941" cy="5021942"/>
          </a:xfrm>
        </p:grpSpPr>
        <p:grpSp>
          <p:nvGrpSpPr>
            <p:cNvPr id="6" name="组合 5"/>
            <p:cNvGrpSpPr/>
            <p:nvPr/>
          </p:nvGrpSpPr>
          <p:grpSpPr>
            <a:xfrm>
              <a:off x="3585029" y="1846210"/>
              <a:ext cx="5021942" cy="5021942"/>
              <a:chOff x="3544155" y="1846210"/>
              <a:chExt cx="5021942" cy="5021942"/>
            </a:xfrm>
          </p:grpSpPr>
          <p:sp>
            <p:nvSpPr>
              <p:cNvPr id="21" name="圆角矩形 26"/>
              <p:cNvSpPr/>
              <p:nvPr/>
            </p:nvSpPr>
            <p:spPr>
              <a:xfrm>
                <a:off x="3544155" y="1846210"/>
                <a:ext cx="5021942" cy="5021942"/>
              </a:xfrm>
              <a:prstGeom prst="roundRect">
                <a:avLst>
                  <a:gd name="adj" fmla="val 50000"/>
                </a:avLst>
              </a:prstGeom>
              <a:noFill/>
              <a:ln>
                <a:solidFill>
                  <a:schemeClr val="tx1">
                    <a:lumMod val="50000"/>
                    <a:lumOff val="50000"/>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endParaRPr>
              </a:p>
            </p:txBody>
          </p:sp>
          <p:sp>
            <p:nvSpPr>
              <p:cNvPr id="22" name="圆角矩形 49"/>
              <p:cNvSpPr/>
              <p:nvPr/>
            </p:nvSpPr>
            <p:spPr>
              <a:xfrm>
                <a:off x="4368905" y="2670960"/>
                <a:ext cx="3372442" cy="3372442"/>
              </a:xfrm>
              <a:prstGeom prst="roundRect">
                <a:avLst>
                  <a:gd name="adj" fmla="val 50000"/>
                </a:avLst>
              </a:prstGeom>
              <a:blipFill>
                <a:blip r:embed="rId1"/>
                <a:stretch>
                  <a:fillRect l="-25094" r="-24906"/>
                </a:stretch>
              </a:blipFill>
              <a:ln w="38100">
                <a:noFill/>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Autofit/>
              </a:bodyPr>
              <a:lstStyle/>
              <a:p>
                <a:pPr algn="ctr"/>
                <a:endParaRPr lang="zh-CN" altLang="en-US" dirty="0"/>
              </a:p>
            </p:txBody>
          </p:sp>
        </p:grpSp>
        <p:grpSp>
          <p:nvGrpSpPr>
            <p:cNvPr id="9" name="组合 8"/>
            <p:cNvGrpSpPr/>
            <p:nvPr/>
          </p:nvGrpSpPr>
          <p:grpSpPr>
            <a:xfrm>
              <a:off x="7983395" y="3685027"/>
              <a:ext cx="4539002" cy="1458156"/>
              <a:chOff x="7942521" y="3712332"/>
              <a:chExt cx="4539002" cy="1458156"/>
            </a:xfrm>
          </p:grpSpPr>
          <p:sp>
            <p:nvSpPr>
              <p:cNvPr id="16" name="圆角矩形 63"/>
              <p:cNvSpPr/>
              <p:nvPr/>
            </p:nvSpPr>
            <p:spPr>
              <a:xfrm>
                <a:off x="7942521" y="3712332"/>
                <a:ext cx="3902149" cy="1458156"/>
              </a:xfrm>
              <a:prstGeom prst="roundRect">
                <a:avLst>
                  <a:gd name="adj" fmla="val 50000"/>
                </a:avLst>
              </a:prstGeom>
              <a:solidFill>
                <a:schemeClr val="accent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7" name="椭圆 16"/>
              <p:cNvSpPr/>
              <p:nvPr/>
            </p:nvSpPr>
            <p:spPr>
              <a:xfrm>
                <a:off x="8170072" y="4024486"/>
                <a:ext cx="720000" cy="72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3765">
                  <a:buSzPct val="25000"/>
                </a:pPr>
                <a:r>
                  <a:rPr lang="en-GB" altLang="zh-CN" sz="1600" b="1" dirty="0"/>
                  <a:t>02</a:t>
                </a:r>
                <a:endParaRPr lang="zh-CN" altLang="en-US" sz="1600" b="1" dirty="0"/>
              </a:p>
            </p:txBody>
          </p:sp>
          <p:grpSp>
            <p:nvGrpSpPr>
              <p:cNvPr id="18" name="组合 17"/>
              <p:cNvGrpSpPr/>
              <p:nvPr/>
            </p:nvGrpSpPr>
            <p:grpSpPr>
              <a:xfrm>
                <a:off x="9079878" y="3930737"/>
                <a:ext cx="3401645" cy="1239751"/>
                <a:chOff x="9122644" y="3965015"/>
                <a:chExt cx="3401645" cy="1239751"/>
              </a:xfrm>
            </p:grpSpPr>
            <p:sp>
              <p:nvSpPr>
                <p:cNvPr id="19" name="文本框 18"/>
                <p:cNvSpPr txBox="1"/>
                <p:nvPr/>
              </p:nvSpPr>
              <p:spPr>
                <a:xfrm>
                  <a:off x="9122652" y="3965015"/>
                  <a:ext cx="2396246" cy="369332"/>
                </a:xfrm>
                <a:prstGeom prst="rect">
                  <a:avLst/>
                </a:prstGeom>
                <a:noFill/>
              </p:spPr>
              <p:txBody>
                <a:bodyPr wrap="square">
                  <a:spAutoFit/>
                </a:bodyPr>
                <a:lstStyle/>
                <a:p>
                  <a:r>
                    <a:rPr lang="en-US" altLang="zh-CN" b="1" dirty="0"/>
                    <a:t>Signal processing</a:t>
                  </a:r>
                  <a:endParaRPr lang="en-US" altLang="zh-CN" b="1" dirty="0"/>
                </a:p>
              </p:txBody>
            </p:sp>
            <p:sp>
              <p:nvSpPr>
                <p:cNvPr id="20" name="矩形 19"/>
                <p:cNvSpPr/>
                <p:nvPr/>
              </p:nvSpPr>
              <p:spPr>
                <a:xfrm>
                  <a:off x="9122644" y="4240748"/>
                  <a:ext cx="3401645" cy="964018"/>
                </a:xfrm>
                <a:prstGeom prst="rect">
                  <a:avLst/>
                </a:prstGeom>
                <a:ln>
                  <a:noFill/>
                </a:ln>
              </p:spPr>
              <p:txBody>
                <a:bodyPr wrap="square" lIns="91440" tIns="45720" rIns="91440" bIns="45720" anchor="t">
                  <a:spAutoFit/>
                </a:bodyPr>
                <a:lstStyle/>
                <a:p>
                  <a:pPr>
                    <a:lnSpc>
                      <a:spcPct val="150000"/>
                    </a:lnSpc>
                  </a:pPr>
                  <a:r>
                    <a:rPr lang="en-US" altLang="zh-CN" sz="1200" dirty="0">
                      <a:solidFill>
                        <a:schemeClr val="tx1">
                          <a:lumMod val="85000"/>
                          <a:lumOff val="15000"/>
                        </a:schemeClr>
                      </a:solidFill>
                    </a:rPr>
                    <a:t>Acoustic feature extraction, </a:t>
                  </a:r>
                  <a:r>
                    <a:rPr lang="en-US" altLang="zh-CN" sz="1200" b="0" i="0" dirty="0">
                      <a:solidFill>
                        <a:srgbClr val="333333"/>
                      </a:solidFill>
                      <a:effectLst/>
                    </a:rPr>
                    <a:t>Phoneme </a:t>
                  </a:r>
                  <a:r>
                    <a:rPr lang="en-US" altLang="zh-CN" sz="1200" b="0" i="0" dirty="0">
                      <a:solidFill>
                        <a:srgbClr val="333333"/>
                      </a:solidFill>
                      <a:effectLst/>
                      <a:latin typeface="Tahoma" panose="020B0604030504040204" pitchFamily="34" charset="0"/>
                    </a:rPr>
                    <a:t>alignment,</a:t>
                  </a:r>
                  <a:r>
                    <a:rPr lang="en-US" altLang="zh-CN" sz="1200" dirty="0">
                      <a:solidFill>
                        <a:schemeClr val="tx1">
                          <a:lumMod val="85000"/>
                          <a:lumOff val="15000"/>
                        </a:schemeClr>
                      </a:solidFill>
                      <a:latin typeface="Tahoma" panose="020B0604030504040204" pitchFamily="34" charset="0"/>
                    </a:rPr>
                    <a:t> </a:t>
                  </a:r>
                  <a:r>
                    <a:rPr lang="en-US" altLang="zh-CN" sz="1200" dirty="0">
                      <a:solidFill>
                        <a:schemeClr val="tx1">
                          <a:lumMod val="85000"/>
                          <a:lumOff val="15000"/>
                        </a:schemeClr>
                      </a:solidFill>
                    </a:rPr>
                    <a:t>Speech synthesis parameter generation</a:t>
                  </a:r>
                  <a:endParaRPr lang="en-US" altLang="zh-CN" sz="1200" dirty="0">
                    <a:solidFill>
                      <a:schemeClr val="tx1">
                        <a:lumMod val="85000"/>
                        <a:lumOff val="15000"/>
                      </a:schemeClr>
                    </a:solidFill>
                  </a:endParaRPr>
                </a:p>
              </p:txBody>
            </p:sp>
          </p:grpSp>
        </p:grpSp>
        <p:grpSp>
          <p:nvGrpSpPr>
            <p:cNvPr id="10" name="组合 9"/>
            <p:cNvGrpSpPr/>
            <p:nvPr/>
          </p:nvGrpSpPr>
          <p:grpSpPr>
            <a:xfrm flipH="1">
              <a:off x="306456" y="3765630"/>
              <a:ext cx="3902149" cy="1377552"/>
              <a:chOff x="7942521" y="3792935"/>
              <a:chExt cx="3902149" cy="1377552"/>
            </a:xfrm>
          </p:grpSpPr>
          <p:sp>
            <p:nvSpPr>
              <p:cNvPr id="11" name="圆角矩形 67"/>
              <p:cNvSpPr/>
              <p:nvPr/>
            </p:nvSpPr>
            <p:spPr>
              <a:xfrm flipH="1">
                <a:off x="7942521" y="3792935"/>
                <a:ext cx="3902149" cy="1377552"/>
              </a:xfrm>
              <a:prstGeom prst="roundRect">
                <a:avLst>
                  <a:gd name="adj" fmla="val 50000"/>
                </a:avLst>
              </a:prstGeom>
              <a:solidFill>
                <a:schemeClr val="accent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2" name="椭圆 11"/>
              <p:cNvSpPr/>
              <p:nvPr/>
            </p:nvSpPr>
            <p:spPr>
              <a:xfrm flipH="1">
                <a:off x="8170072" y="4024486"/>
                <a:ext cx="720000" cy="72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3765">
                  <a:buSzPct val="25000"/>
                </a:pPr>
                <a:r>
                  <a:rPr lang="en-GB" altLang="zh-CN" sz="1600" b="1" dirty="0"/>
                  <a:t>01</a:t>
                </a:r>
                <a:endParaRPr lang="zh-CN" altLang="en-US" sz="1600" b="1" dirty="0"/>
              </a:p>
            </p:txBody>
          </p:sp>
          <p:grpSp>
            <p:nvGrpSpPr>
              <p:cNvPr id="13" name="组合 12"/>
              <p:cNvGrpSpPr/>
              <p:nvPr/>
            </p:nvGrpSpPr>
            <p:grpSpPr>
              <a:xfrm>
                <a:off x="9079877" y="3930737"/>
                <a:ext cx="2396255" cy="1239750"/>
                <a:chOff x="9122643" y="3965015"/>
                <a:chExt cx="2396255" cy="1239750"/>
              </a:xfrm>
            </p:grpSpPr>
            <p:sp>
              <p:nvSpPr>
                <p:cNvPr id="14" name="文本框 13"/>
                <p:cNvSpPr txBox="1"/>
                <p:nvPr/>
              </p:nvSpPr>
              <p:spPr>
                <a:xfrm>
                  <a:off x="9122652" y="3965015"/>
                  <a:ext cx="2396246" cy="369332"/>
                </a:xfrm>
                <a:prstGeom prst="rect">
                  <a:avLst/>
                </a:prstGeom>
                <a:noFill/>
              </p:spPr>
              <p:txBody>
                <a:bodyPr wrap="square">
                  <a:spAutoFit/>
                </a:bodyPr>
                <a:lstStyle/>
                <a:p>
                  <a:r>
                    <a:rPr lang="en-US" altLang="zh-CN" b="1" dirty="0"/>
                    <a:t>Speech synthesis</a:t>
                  </a:r>
                  <a:endParaRPr lang="en-US" altLang="zh-CN" b="1" dirty="0"/>
                </a:p>
              </p:txBody>
            </p:sp>
            <p:sp>
              <p:nvSpPr>
                <p:cNvPr id="15" name="矩形 14"/>
                <p:cNvSpPr/>
                <p:nvPr/>
              </p:nvSpPr>
              <p:spPr>
                <a:xfrm>
                  <a:off x="9122643" y="4240747"/>
                  <a:ext cx="2396255" cy="964018"/>
                </a:xfrm>
                <a:prstGeom prst="rect">
                  <a:avLst/>
                </a:prstGeom>
                <a:ln>
                  <a:noFill/>
                </a:ln>
              </p:spPr>
              <p:txBody>
                <a:bodyPr wrap="square" lIns="91440" tIns="45720" rIns="91440" bIns="45720" anchor="t">
                  <a:spAutoFit/>
                </a:bodyPr>
                <a:lstStyle/>
                <a:p>
                  <a:pPr>
                    <a:lnSpc>
                      <a:spcPct val="150000"/>
                    </a:lnSpc>
                  </a:pPr>
                  <a:r>
                    <a:rPr lang="en-US" altLang="zh-CN" sz="1200" dirty="0">
                      <a:solidFill>
                        <a:schemeClr val="tx1">
                          <a:lumMod val="85000"/>
                          <a:lumOff val="15000"/>
                        </a:schemeClr>
                      </a:solidFill>
                    </a:rPr>
                    <a:t>The</a:t>
                  </a:r>
                  <a:r>
                    <a:rPr lang="zh-CN" altLang="en-US" sz="1200" dirty="0">
                      <a:solidFill>
                        <a:schemeClr val="tx1">
                          <a:lumMod val="85000"/>
                          <a:lumOff val="15000"/>
                        </a:schemeClr>
                      </a:solidFill>
                    </a:rPr>
                    <a:t> </a:t>
                  </a:r>
                  <a:r>
                    <a:rPr lang="en-US" altLang="zh-CN" sz="1200" dirty="0">
                      <a:solidFill>
                        <a:schemeClr val="tx1">
                          <a:lumMod val="85000"/>
                          <a:lumOff val="15000"/>
                        </a:schemeClr>
                      </a:solidFill>
                    </a:rPr>
                    <a:t>process</a:t>
                  </a:r>
                  <a:r>
                    <a:rPr lang="zh-CN" altLang="en-US" sz="1200" dirty="0">
                      <a:solidFill>
                        <a:schemeClr val="tx1">
                          <a:lumMod val="85000"/>
                          <a:lumOff val="15000"/>
                        </a:schemeClr>
                      </a:solidFill>
                    </a:rPr>
                    <a:t> </a:t>
                  </a:r>
                  <a:r>
                    <a:rPr lang="en-US" altLang="zh-CN" sz="1200" dirty="0">
                      <a:solidFill>
                        <a:schemeClr val="tx1">
                          <a:lumMod val="85000"/>
                          <a:lumOff val="15000"/>
                        </a:schemeClr>
                      </a:solidFill>
                    </a:rPr>
                    <a:t>of</a:t>
                  </a:r>
                  <a:r>
                    <a:rPr lang="zh-CN" altLang="en-US" sz="1200" dirty="0">
                      <a:solidFill>
                        <a:schemeClr val="tx1">
                          <a:lumMod val="85000"/>
                          <a:lumOff val="15000"/>
                        </a:schemeClr>
                      </a:solidFill>
                    </a:rPr>
                    <a:t> </a:t>
                  </a:r>
                  <a:r>
                    <a:rPr lang="en-US" altLang="zh-CN" sz="1200" dirty="0">
                      <a:solidFill>
                        <a:schemeClr val="tx1">
                          <a:lumMod val="85000"/>
                          <a:lumOff val="15000"/>
                        </a:schemeClr>
                      </a:solidFill>
                    </a:rPr>
                    <a:t>text-to-speech</a:t>
                  </a:r>
                  <a:r>
                    <a:rPr lang="zh-CN" altLang="en-US" sz="1200" dirty="0">
                      <a:solidFill>
                        <a:schemeClr val="tx1">
                          <a:lumMod val="85000"/>
                          <a:lumOff val="15000"/>
                        </a:schemeClr>
                      </a:solidFill>
                    </a:rPr>
                    <a:t> </a:t>
                  </a:r>
                  <a:endParaRPr lang="en-US" altLang="zh-CN" sz="1200" dirty="0">
                    <a:solidFill>
                      <a:schemeClr val="tx1">
                        <a:lumMod val="85000"/>
                        <a:lumOff val="15000"/>
                      </a:schemeClr>
                    </a:solidFill>
                  </a:endParaRPr>
                </a:p>
                <a:p>
                  <a:pPr>
                    <a:lnSpc>
                      <a:spcPct val="150000"/>
                    </a:lnSpc>
                  </a:pPr>
                  <a:r>
                    <a:rPr lang="en-US" altLang="zh-CN" sz="1200" dirty="0">
                      <a:solidFill>
                        <a:schemeClr val="tx1">
                          <a:lumMod val="85000"/>
                          <a:lumOff val="15000"/>
                        </a:schemeClr>
                      </a:solidFill>
                    </a:rPr>
                    <a:t>Generate natural, smooth speech output</a:t>
                  </a:r>
                  <a:endParaRPr lang="en-US" altLang="zh-CN" sz="1200" dirty="0">
                    <a:solidFill>
                      <a:schemeClr val="tx1">
                        <a:lumMod val="85000"/>
                        <a:lumOff val="15000"/>
                      </a:schemeClr>
                    </a:solidFill>
                  </a:endParaRPr>
                </a:p>
              </p:txBody>
            </p:sp>
          </p:grpSp>
        </p:grpSp>
      </p:grpSp>
    </p:spTree>
    <p:custDataLst>
      <p:tags r:id="rId2"/>
    </p:custData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1" dirty="0"/>
              <a:t>Speech synthesis</a:t>
            </a:r>
            <a:endParaRPr lang="en-US" altLang="zh-CN" b="1"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grpSp>
        <p:nvGrpSpPr>
          <p:cNvPr id="5" name="组合 4"/>
          <p:cNvGrpSpPr/>
          <p:nvPr/>
        </p:nvGrpSpPr>
        <p:grpSpPr>
          <a:xfrm>
            <a:off x="1145946" y="1545074"/>
            <a:ext cx="9900109" cy="4567755"/>
            <a:chOff x="1145946" y="1545074"/>
            <a:chExt cx="9900109" cy="4567755"/>
          </a:xfrm>
        </p:grpSpPr>
        <p:grpSp>
          <p:nvGrpSpPr>
            <p:cNvPr id="6" name="îśľîḑê"/>
            <p:cNvGrpSpPr/>
            <p:nvPr/>
          </p:nvGrpSpPr>
          <p:grpSpPr>
            <a:xfrm>
              <a:off x="1145946" y="2769081"/>
              <a:ext cx="3856109" cy="3017414"/>
              <a:chOff x="3632750" y="2491455"/>
              <a:chExt cx="4185408" cy="3275091"/>
            </a:xfrm>
          </p:grpSpPr>
          <p:sp>
            <p:nvSpPr>
              <p:cNvPr id="23" name="iŝḷïde"/>
              <p:cNvSpPr/>
              <p:nvPr/>
            </p:nvSpPr>
            <p:spPr>
              <a:xfrm>
                <a:off x="4202077" y="5225705"/>
                <a:ext cx="3616081" cy="540841"/>
              </a:xfrm>
              <a:custGeom>
                <a:avLst/>
                <a:gdLst>
                  <a:gd name="connsiteX0" fmla="*/ -567 w 3616081"/>
                  <a:gd name="connsiteY0" fmla="*/ 270234 h 540841"/>
                  <a:gd name="connsiteX1" fmla="*/ 1807507 w 3616081"/>
                  <a:gd name="connsiteY1" fmla="*/ -187 h 540841"/>
                  <a:gd name="connsiteX2" fmla="*/ 3615515 w 3616081"/>
                  <a:gd name="connsiteY2" fmla="*/ 270234 h 540841"/>
                  <a:gd name="connsiteX3" fmla="*/ 1807507 w 3616081"/>
                  <a:gd name="connsiteY3" fmla="*/ 540654 h 540841"/>
                  <a:gd name="connsiteX4" fmla="*/ -567 w 3616081"/>
                  <a:gd name="connsiteY4" fmla="*/ 270234 h 540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081" h="540841">
                    <a:moveTo>
                      <a:pt x="-567" y="270234"/>
                    </a:moveTo>
                    <a:cubicBezTo>
                      <a:pt x="-567" y="120878"/>
                      <a:pt x="808931" y="-187"/>
                      <a:pt x="1807507" y="-187"/>
                    </a:cubicBezTo>
                    <a:cubicBezTo>
                      <a:pt x="2806083" y="-187"/>
                      <a:pt x="3615515" y="120878"/>
                      <a:pt x="3615515" y="270234"/>
                    </a:cubicBezTo>
                    <a:cubicBezTo>
                      <a:pt x="3615515" y="419589"/>
                      <a:pt x="2806083" y="540654"/>
                      <a:pt x="1807507" y="540654"/>
                    </a:cubicBezTo>
                    <a:cubicBezTo>
                      <a:pt x="808931" y="540654"/>
                      <a:pt x="-567" y="419589"/>
                      <a:pt x="-567" y="270234"/>
                    </a:cubicBezTo>
                    <a:close/>
                  </a:path>
                </a:pathLst>
              </a:custGeom>
              <a:solidFill>
                <a:srgbClr val="E8EEF9"/>
              </a:solidFill>
              <a:ln w="6531" cap="flat">
                <a:noFill/>
                <a:prstDash val="solid"/>
                <a:miter/>
              </a:ln>
            </p:spPr>
            <p:txBody>
              <a:bodyPr rtlCol="0" anchor="ctr"/>
              <a:lstStyle/>
              <a:p>
                <a:endParaRPr lang="zh-CN" altLang="en-US"/>
              </a:p>
            </p:txBody>
          </p:sp>
          <p:sp>
            <p:nvSpPr>
              <p:cNvPr id="24" name="iṧḻïḑê"/>
              <p:cNvSpPr/>
              <p:nvPr/>
            </p:nvSpPr>
            <p:spPr>
              <a:xfrm>
                <a:off x="3632750" y="4695775"/>
                <a:ext cx="1583779" cy="652874"/>
              </a:xfrm>
              <a:custGeom>
                <a:avLst/>
                <a:gdLst>
                  <a:gd name="connsiteX0" fmla="*/ -436 w 1583779"/>
                  <a:gd name="connsiteY0" fmla="*/ 121270 h 652874"/>
                  <a:gd name="connsiteX1" fmla="*/ 532108 w 1583779"/>
                  <a:gd name="connsiteY1" fmla="*/ -187 h 652874"/>
                  <a:gd name="connsiteX2" fmla="*/ 546677 w 1583779"/>
                  <a:gd name="connsiteY2" fmla="*/ 99710 h 652874"/>
                  <a:gd name="connsiteX3" fmla="*/ 645659 w 1583779"/>
                  <a:gd name="connsiteY3" fmla="*/ 16669 h 652874"/>
                  <a:gd name="connsiteX4" fmla="*/ 1583213 w 1583779"/>
                  <a:gd name="connsiteY4" fmla="*/ 476691 h 652874"/>
                  <a:gd name="connsiteX5" fmla="*/ 712562 w 1583779"/>
                  <a:gd name="connsiteY5" fmla="*/ 634671 h 652874"/>
                  <a:gd name="connsiteX6" fmla="*/ 691197 w 1583779"/>
                  <a:gd name="connsiteY6" fmla="*/ 520204 h 652874"/>
                  <a:gd name="connsiteX7" fmla="*/ 639518 w 1583779"/>
                  <a:gd name="connsiteY7" fmla="*/ 618206 h 652874"/>
                  <a:gd name="connsiteX8" fmla="*/ 356292 w 1583779"/>
                  <a:gd name="connsiteY8" fmla="*/ 492894 h 652874"/>
                  <a:gd name="connsiteX9" fmla="*/ 412675 w 1583779"/>
                  <a:gd name="connsiteY9" fmla="*/ 383916 h 652874"/>
                  <a:gd name="connsiteX10" fmla="*/ 282006 w 1583779"/>
                  <a:gd name="connsiteY10" fmla="*/ 440822 h 652874"/>
                  <a:gd name="connsiteX11" fmla="*/ -567 w 1583779"/>
                  <a:gd name="connsiteY11" fmla="*/ 121335 h 652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83779" h="652874">
                    <a:moveTo>
                      <a:pt x="-436" y="121270"/>
                    </a:moveTo>
                    <a:cubicBezTo>
                      <a:pt x="161921" y="44567"/>
                      <a:pt x="381119" y="3668"/>
                      <a:pt x="532108" y="-187"/>
                    </a:cubicBezTo>
                    <a:cubicBezTo>
                      <a:pt x="570067" y="58614"/>
                      <a:pt x="546677" y="99710"/>
                      <a:pt x="546677" y="99710"/>
                    </a:cubicBezTo>
                    <a:lnTo>
                      <a:pt x="645659" y="16669"/>
                    </a:lnTo>
                    <a:cubicBezTo>
                      <a:pt x="1219821" y="51231"/>
                      <a:pt x="1583213" y="476691"/>
                      <a:pt x="1583213" y="476691"/>
                    </a:cubicBezTo>
                    <a:cubicBezTo>
                      <a:pt x="1230405" y="650220"/>
                      <a:pt x="941887" y="677857"/>
                      <a:pt x="712562" y="634671"/>
                    </a:cubicBezTo>
                    <a:cubicBezTo>
                      <a:pt x="703546" y="588936"/>
                      <a:pt x="691197" y="520204"/>
                      <a:pt x="691197" y="520204"/>
                    </a:cubicBezTo>
                    <a:lnTo>
                      <a:pt x="639518" y="618206"/>
                    </a:lnTo>
                    <a:cubicBezTo>
                      <a:pt x="539203" y="591314"/>
                      <a:pt x="443664" y="549043"/>
                      <a:pt x="356292" y="492894"/>
                    </a:cubicBezTo>
                    <a:cubicBezTo>
                      <a:pt x="383471" y="442129"/>
                      <a:pt x="412675" y="383916"/>
                      <a:pt x="412675" y="383916"/>
                    </a:cubicBezTo>
                    <a:lnTo>
                      <a:pt x="282006" y="440822"/>
                    </a:lnTo>
                    <a:cubicBezTo>
                      <a:pt x="89007" y="292774"/>
                      <a:pt x="-567" y="121335"/>
                      <a:pt x="-567" y="121335"/>
                    </a:cubicBezTo>
                    <a:close/>
                  </a:path>
                </a:pathLst>
              </a:custGeom>
              <a:solidFill>
                <a:srgbClr val="62CC95"/>
              </a:solidFill>
              <a:ln w="6531" cap="flat">
                <a:noFill/>
                <a:prstDash val="solid"/>
                <a:miter/>
              </a:ln>
            </p:spPr>
            <p:txBody>
              <a:bodyPr rtlCol="0" anchor="ctr"/>
              <a:lstStyle/>
              <a:p>
                <a:endParaRPr lang="zh-CN" altLang="en-US"/>
              </a:p>
            </p:txBody>
          </p:sp>
          <p:sp>
            <p:nvSpPr>
              <p:cNvPr id="25" name="ïśľiḑè"/>
              <p:cNvSpPr/>
              <p:nvPr/>
            </p:nvSpPr>
            <p:spPr>
              <a:xfrm>
                <a:off x="3632750" y="4817210"/>
                <a:ext cx="1583648" cy="531504"/>
              </a:xfrm>
              <a:custGeom>
                <a:avLst/>
                <a:gdLst>
                  <a:gd name="connsiteX0" fmla="*/ 712627 w 1583648"/>
                  <a:gd name="connsiteY0" fmla="*/ 513235 h 531504"/>
                  <a:gd name="connsiteX1" fmla="*/ 691197 w 1583648"/>
                  <a:gd name="connsiteY1" fmla="*/ 398769 h 531504"/>
                  <a:gd name="connsiteX2" fmla="*/ 639583 w 1583648"/>
                  <a:gd name="connsiteY2" fmla="*/ 496771 h 531504"/>
                  <a:gd name="connsiteX3" fmla="*/ 356292 w 1583648"/>
                  <a:gd name="connsiteY3" fmla="*/ 371459 h 531504"/>
                  <a:gd name="connsiteX4" fmla="*/ 412741 w 1583648"/>
                  <a:gd name="connsiteY4" fmla="*/ 262481 h 531504"/>
                  <a:gd name="connsiteX5" fmla="*/ 282071 w 1583648"/>
                  <a:gd name="connsiteY5" fmla="*/ 319387 h 531504"/>
                  <a:gd name="connsiteX6" fmla="*/ -567 w 1583648"/>
                  <a:gd name="connsiteY6" fmla="*/ -100 h 531504"/>
                  <a:gd name="connsiteX7" fmla="*/ 1583082 w 1583648"/>
                  <a:gd name="connsiteY7" fmla="*/ 355322 h 531504"/>
                  <a:gd name="connsiteX8" fmla="*/ 712497 w 1583648"/>
                  <a:gd name="connsiteY8" fmla="*/ 513301 h 531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3648" h="531504">
                    <a:moveTo>
                      <a:pt x="712627" y="513235"/>
                    </a:moveTo>
                    <a:cubicBezTo>
                      <a:pt x="703611" y="467501"/>
                      <a:pt x="691197" y="398769"/>
                      <a:pt x="691197" y="398769"/>
                    </a:cubicBezTo>
                    <a:lnTo>
                      <a:pt x="639583" y="496771"/>
                    </a:lnTo>
                    <a:cubicBezTo>
                      <a:pt x="539249" y="469873"/>
                      <a:pt x="443690" y="427601"/>
                      <a:pt x="356292" y="371459"/>
                    </a:cubicBezTo>
                    <a:cubicBezTo>
                      <a:pt x="383536" y="320759"/>
                      <a:pt x="412741" y="262481"/>
                      <a:pt x="412741" y="262481"/>
                    </a:cubicBezTo>
                    <a:lnTo>
                      <a:pt x="282071" y="319387"/>
                    </a:lnTo>
                    <a:cubicBezTo>
                      <a:pt x="88942" y="171273"/>
                      <a:pt x="-567" y="-100"/>
                      <a:pt x="-567" y="-100"/>
                    </a:cubicBezTo>
                    <a:cubicBezTo>
                      <a:pt x="673361" y="-6633"/>
                      <a:pt x="1583082" y="355322"/>
                      <a:pt x="1583082" y="355322"/>
                    </a:cubicBezTo>
                    <a:cubicBezTo>
                      <a:pt x="1230274" y="528851"/>
                      <a:pt x="941756" y="556487"/>
                      <a:pt x="712497" y="513301"/>
                    </a:cubicBezTo>
                    <a:close/>
                  </a:path>
                </a:pathLst>
              </a:custGeom>
              <a:solidFill>
                <a:srgbClr val="4FA77B"/>
              </a:solidFill>
              <a:ln w="6531" cap="flat">
                <a:noFill/>
                <a:prstDash val="solid"/>
                <a:miter/>
              </a:ln>
            </p:spPr>
            <p:txBody>
              <a:bodyPr rtlCol="0" anchor="ctr"/>
              <a:lstStyle/>
              <a:p>
                <a:endParaRPr lang="zh-CN" altLang="en-US"/>
              </a:p>
            </p:txBody>
          </p:sp>
          <p:sp>
            <p:nvSpPr>
              <p:cNvPr id="26" name="íşlídé"/>
              <p:cNvSpPr/>
              <p:nvPr/>
            </p:nvSpPr>
            <p:spPr>
              <a:xfrm>
                <a:off x="3704161" y="3619173"/>
                <a:ext cx="1373336" cy="1403406"/>
              </a:xfrm>
              <a:custGeom>
                <a:avLst/>
                <a:gdLst>
                  <a:gd name="connsiteX0" fmla="*/ -567 w 1373336"/>
                  <a:gd name="connsiteY0" fmla="*/ 875 h 1403406"/>
                  <a:gd name="connsiteX1" fmla="*/ 213470 w 1373336"/>
                  <a:gd name="connsiteY1" fmla="*/ 625867 h 1403406"/>
                  <a:gd name="connsiteX2" fmla="*/ 325454 w 1373336"/>
                  <a:gd name="connsiteY2" fmla="*/ 577258 h 1403406"/>
                  <a:gd name="connsiteX3" fmla="*/ 303044 w 1373336"/>
                  <a:gd name="connsiteY3" fmla="*/ 731905 h 1403406"/>
                  <a:gd name="connsiteX4" fmla="*/ 1372770 w 1373336"/>
                  <a:gd name="connsiteY4" fmla="*/ 1403219 h 1403406"/>
                  <a:gd name="connsiteX5" fmla="*/ 981153 w 1373336"/>
                  <a:gd name="connsiteY5" fmla="*/ 407387 h 1403406"/>
                  <a:gd name="connsiteX6" fmla="*/ 849765 w 1373336"/>
                  <a:gd name="connsiteY6" fmla="*/ 458218 h 1403406"/>
                  <a:gd name="connsiteX7" fmla="*/ 917648 w 1373336"/>
                  <a:gd name="connsiteY7" fmla="*/ 342771 h 1403406"/>
                  <a:gd name="connsiteX8" fmla="*/ 608484 w 1373336"/>
                  <a:gd name="connsiteY8" fmla="*/ 131283 h 1403406"/>
                  <a:gd name="connsiteX9" fmla="*/ 532369 w 1373336"/>
                  <a:gd name="connsiteY9" fmla="*/ 258620 h 1403406"/>
                  <a:gd name="connsiteX10" fmla="*/ 507803 w 1373336"/>
                  <a:gd name="connsiteY10" fmla="*/ 88162 h 1403406"/>
                  <a:gd name="connsiteX11" fmla="*/ -567 w 1373336"/>
                  <a:gd name="connsiteY11" fmla="*/ 875 h 1403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73336" h="1403406">
                    <a:moveTo>
                      <a:pt x="-567" y="875"/>
                    </a:moveTo>
                    <a:cubicBezTo>
                      <a:pt x="23869" y="216480"/>
                      <a:pt x="121479" y="468018"/>
                      <a:pt x="213470" y="625867"/>
                    </a:cubicBezTo>
                    <a:cubicBezTo>
                      <a:pt x="298405" y="627369"/>
                      <a:pt x="325454" y="577258"/>
                      <a:pt x="325454" y="577258"/>
                    </a:cubicBezTo>
                    <a:lnTo>
                      <a:pt x="303044" y="731905"/>
                    </a:lnTo>
                    <a:cubicBezTo>
                      <a:pt x="704003" y="1300317"/>
                      <a:pt x="1372770" y="1403219"/>
                      <a:pt x="1372770" y="1403219"/>
                    </a:cubicBezTo>
                    <a:cubicBezTo>
                      <a:pt x="1326643" y="929804"/>
                      <a:pt x="1171473" y="615675"/>
                      <a:pt x="981153" y="407387"/>
                    </a:cubicBezTo>
                    <a:cubicBezTo>
                      <a:pt x="928101" y="427380"/>
                      <a:pt x="849765" y="458218"/>
                      <a:pt x="849765" y="458218"/>
                    </a:cubicBezTo>
                    <a:lnTo>
                      <a:pt x="917648" y="342771"/>
                    </a:lnTo>
                    <a:cubicBezTo>
                      <a:pt x="826153" y="256712"/>
                      <a:pt x="721853" y="185367"/>
                      <a:pt x="608484" y="131283"/>
                    </a:cubicBezTo>
                    <a:cubicBezTo>
                      <a:pt x="573660" y="191522"/>
                      <a:pt x="532369" y="258620"/>
                      <a:pt x="532369" y="258620"/>
                    </a:cubicBezTo>
                    <a:lnTo>
                      <a:pt x="507803" y="88162"/>
                    </a:lnTo>
                    <a:cubicBezTo>
                      <a:pt x="232678" y="-16374"/>
                      <a:pt x="-567" y="875"/>
                      <a:pt x="-567" y="875"/>
                    </a:cubicBezTo>
                    <a:close/>
                  </a:path>
                </a:pathLst>
              </a:custGeom>
              <a:solidFill>
                <a:srgbClr val="4FA77B"/>
              </a:solidFill>
              <a:ln w="6531" cap="flat">
                <a:noFill/>
                <a:prstDash val="solid"/>
                <a:miter/>
              </a:ln>
            </p:spPr>
            <p:txBody>
              <a:bodyPr rtlCol="0" anchor="ctr"/>
              <a:lstStyle/>
              <a:p>
                <a:endParaRPr lang="zh-CN" altLang="en-US"/>
              </a:p>
            </p:txBody>
          </p:sp>
          <p:sp>
            <p:nvSpPr>
              <p:cNvPr id="27" name="iSļïḋè"/>
              <p:cNvSpPr/>
              <p:nvPr/>
            </p:nvSpPr>
            <p:spPr>
              <a:xfrm>
                <a:off x="3704161" y="3619183"/>
                <a:ext cx="1373336" cy="1403396"/>
              </a:xfrm>
              <a:custGeom>
                <a:avLst/>
                <a:gdLst>
                  <a:gd name="connsiteX0" fmla="*/ 981153 w 1373336"/>
                  <a:gd name="connsiteY0" fmla="*/ 407377 h 1403396"/>
                  <a:gd name="connsiteX1" fmla="*/ 849830 w 1373336"/>
                  <a:gd name="connsiteY1" fmla="*/ 458208 h 1403396"/>
                  <a:gd name="connsiteX2" fmla="*/ 917648 w 1373336"/>
                  <a:gd name="connsiteY2" fmla="*/ 342827 h 1403396"/>
                  <a:gd name="connsiteX3" fmla="*/ 608549 w 1373336"/>
                  <a:gd name="connsiteY3" fmla="*/ 131273 h 1403396"/>
                  <a:gd name="connsiteX4" fmla="*/ 532369 w 1373336"/>
                  <a:gd name="connsiteY4" fmla="*/ 258610 h 1403396"/>
                  <a:gd name="connsiteX5" fmla="*/ 507868 w 1373336"/>
                  <a:gd name="connsiteY5" fmla="*/ 88217 h 1403396"/>
                  <a:gd name="connsiteX6" fmla="*/ -567 w 1373336"/>
                  <a:gd name="connsiteY6" fmla="*/ 865 h 1403396"/>
                  <a:gd name="connsiteX7" fmla="*/ 1372770 w 1373336"/>
                  <a:gd name="connsiteY7" fmla="*/ 1403209 h 1403396"/>
                  <a:gd name="connsiteX8" fmla="*/ 981153 w 1373336"/>
                  <a:gd name="connsiteY8" fmla="*/ 407377 h 1403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3336" h="1403396">
                    <a:moveTo>
                      <a:pt x="981153" y="407377"/>
                    </a:moveTo>
                    <a:cubicBezTo>
                      <a:pt x="928167" y="427370"/>
                      <a:pt x="849830" y="458208"/>
                      <a:pt x="849830" y="458208"/>
                    </a:cubicBezTo>
                    <a:lnTo>
                      <a:pt x="917648" y="342827"/>
                    </a:lnTo>
                    <a:cubicBezTo>
                      <a:pt x="826172" y="256748"/>
                      <a:pt x="721905" y="185383"/>
                      <a:pt x="608549" y="131273"/>
                    </a:cubicBezTo>
                    <a:cubicBezTo>
                      <a:pt x="573726" y="191577"/>
                      <a:pt x="532369" y="258610"/>
                      <a:pt x="532369" y="258610"/>
                    </a:cubicBezTo>
                    <a:lnTo>
                      <a:pt x="507868" y="88217"/>
                    </a:lnTo>
                    <a:cubicBezTo>
                      <a:pt x="232678" y="-16318"/>
                      <a:pt x="-567" y="865"/>
                      <a:pt x="-567" y="865"/>
                    </a:cubicBezTo>
                    <a:cubicBezTo>
                      <a:pt x="421822" y="698182"/>
                      <a:pt x="1372770" y="1403209"/>
                      <a:pt x="1372770" y="1403209"/>
                    </a:cubicBezTo>
                    <a:cubicBezTo>
                      <a:pt x="1326643" y="929794"/>
                      <a:pt x="1171473" y="615730"/>
                      <a:pt x="981153" y="407377"/>
                    </a:cubicBezTo>
                    <a:close/>
                  </a:path>
                </a:pathLst>
              </a:custGeom>
              <a:solidFill>
                <a:srgbClr val="62CC95"/>
              </a:solidFill>
              <a:ln w="6531" cap="flat">
                <a:noFill/>
                <a:prstDash val="solid"/>
                <a:miter/>
              </a:ln>
            </p:spPr>
            <p:txBody>
              <a:bodyPr rtlCol="0" anchor="ctr"/>
              <a:lstStyle/>
              <a:p>
                <a:endParaRPr lang="zh-CN" altLang="en-US"/>
              </a:p>
            </p:txBody>
          </p:sp>
          <p:sp>
            <p:nvSpPr>
              <p:cNvPr id="33" name="î$ļîḑe"/>
              <p:cNvSpPr/>
              <p:nvPr/>
            </p:nvSpPr>
            <p:spPr>
              <a:xfrm>
                <a:off x="5369598" y="2535638"/>
                <a:ext cx="1126576" cy="566623"/>
              </a:xfrm>
              <a:custGeom>
                <a:avLst/>
                <a:gdLst>
                  <a:gd name="connsiteX0" fmla="*/ 1126010 w 1126576"/>
                  <a:gd name="connsiteY0" fmla="*/ 403165 h 566623"/>
                  <a:gd name="connsiteX1" fmla="*/ 845071 w 1126576"/>
                  <a:gd name="connsiteY1" fmla="*/ 233294 h 566623"/>
                  <a:gd name="connsiteX2" fmla="*/ 508989 w 1126576"/>
                  <a:gd name="connsiteY2" fmla="*/ 167960 h 566623"/>
                  <a:gd name="connsiteX3" fmla="*/ 365644 w 1126576"/>
                  <a:gd name="connsiteY3" fmla="*/ 143916 h 566623"/>
                  <a:gd name="connsiteX4" fmla="*/ 220667 w 1126576"/>
                  <a:gd name="connsiteY4" fmla="*/ 39381 h 566623"/>
                  <a:gd name="connsiteX5" fmla="*/ 210409 w 1126576"/>
                  <a:gd name="connsiteY5" fmla="*/ 19323 h 566623"/>
                  <a:gd name="connsiteX6" fmla="*/ 205901 w 1126576"/>
                  <a:gd name="connsiteY6" fmla="*/ 18604 h 566623"/>
                  <a:gd name="connsiteX7" fmla="*/ 97903 w 1126576"/>
                  <a:gd name="connsiteY7" fmla="*/ 3512 h 566623"/>
                  <a:gd name="connsiteX8" fmla="*/ 47595 w 1126576"/>
                  <a:gd name="connsiteY8" fmla="*/ 94001 h 566623"/>
                  <a:gd name="connsiteX9" fmla="*/ 11334 w 1126576"/>
                  <a:gd name="connsiteY9" fmla="*/ 56499 h 566623"/>
                  <a:gd name="connsiteX10" fmla="*/ 2841 w 1126576"/>
                  <a:gd name="connsiteY10" fmla="*/ 177956 h 566623"/>
                  <a:gd name="connsiteX11" fmla="*/ 103652 w 1126576"/>
                  <a:gd name="connsiteY11" fmla="*/ 237410 h 566623"/>
                  <a:gd name="connsiteX12" fmla="*/ 313834 w 1126576"/>
                  <a:gd name="connsiteY12" fmla="*/ 275174 h 566623"/>
                  <a:gd name="connsiteX13" fmla="*/ 721653 w 1126576"/>
                  <a:gd name="connsiteY13" fmla="*/ 472354 h 566623"/>
                  <a:gd name="connsiteX14" fmla="*/ 997627 w 1126576"/>
                  <a:gd name="connsiteY14" fmla="*/ 566436 h 566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26576" h="566623">
                    <a:moveTo>
                      <a:pt x="1126010" y="403165"/>
                    </a:moveTo>
                    <a:cubicBezTo>
                      <a:pt x="1093343" y="318229"/>
                      <a:pt x="912104" y="252568"/>
                      <a:pt x="845071" y="233294"/>
                    </a:cubicBezTo>
                    <a:cubicBezTo>
                      <a:pt x="731519" y="200627"/>
                      <a:pt x="599216" y="171292"/>
                      <a:pt x="508989" y="167960"/>
                    </a:cubicBezTo>
                    <a:cubicBezTo>
                      <a:pt x="460269" y="167241"/>
                      <a:pt x="411934" y="159133"/>
                      <a:pt x="365644" y="143916"/>
                    </a:cubicBezTo>
                    <a:cubicBezTo>
                      <a:pt x="337616" y="78582"/>
                      <a:pt x="220667" y="39381"/>
                      <a:pt x="220667" y="39381"/>
                    </a:cubicBezTo>
                    <a:cubicBezTo>
                      <a:pt x="223365" y="31011"/>
                      <a:pt x="218778" y="22034"/>
                      <a:pt x="210409" y="19323"/>
                    </a:cubicBezTo>
                    <a:cubicBezTo>
                      <a:pt x="208952" y="18853"/>
                      <a:pt x="207430" y="18611"/>
                      <a:pt x="205901" y="18604"/>
                    </a:cubicBezTo>
                    <a:cubicBezTo>
                      <a:pt x="185909" y="16252"/>
                      <a:pt x="128479" y="-9620"/>
                      <a:pt x="97903" y="3512"/>
                    </a:cubicBezTo>
                    <a:cubicBezTo>
                      <a:pt x="67326" y="16644"/>
                      <a:pt x="47595" y="94001"/>
                      <a:pt x="47595" y="94001"/>
                    </a:cubicBezTo>
                    <a:cubicBezTo>
                      <a:pt x="37076" y="48266"/>
                      <a:pt x="11334" y="56499"/>
                      <a:pt x="11334" y="56499"/>
                    </a:cubicBezTo>
                    <a:cubicBezTo>
                      <a:pt x="11334" y="56499"/>
                      <a:pt x="-8266" y="153586"/>
                      <a:pt x="2841" y="177956"/>
                    </a:cubicBezTo>
                    <a:cubicBezTo>
                      <a:pt x="7153" y="187495"/>
                      <a:pt x="51777" y="215262"/>
                      <a:pt x="103652" y="237410"/>
                    </a:cubicBezTo>
                    <a:cubicBezTo>
                      <a:pt x="158076" y="260474"/>
                      <a:pt x="313834" y="275174"/>
                      <a:pt x="313834" y="275174"/>
                    </a:cubicBezTo>
                    <a:cubicBezTo>
                      <a:pt x="313834" y="275174"/>
                      <a:pt x="638940" y="432827"/>
                      <a:pt x="721653" y="472354"/>
                    </a:cubicBezTo>
                    <a:cubicBezTo>
                      <a:pt x="830893" y="524622"/>
                      <a:pt x="997627" y="566436"/>
                      <a:pt x="997627" y="566436"/>
                    </a:cubicBezTo>
                  </a:path>
                </a:pathLst>
              </a:custGeom>
              <a:solidFill>
                <a:srgbClr val="FCB9AE"/>
              </a:solidFill>
              <a:ln w="6531" cap="flat">
                <a:noFill/>
                <a:prstDash val="solid"/>
                <a:miter/>
              </a:ln>
            </p:spPr>
            <p:txBody>
              <a:bodyPr rtlCol="0" anchor="ctr"/>
              <a:lstStyle/>
              <a:p>
                <a:endParaRPr lang="zh-CN" altLang="en-US"/>
              </a:p>
            </p:txBody>
          </p:sp>
          <p:sp>
            <p:nvSpPr>
              <p:cNvPr id="34" name="iśľîdé"/>
              <p:cNvSpPr/>
              <p:nvPr/>
            </p:nvSpPr>
            <p:spPr>
              <a:xfrm>
                <a:off x="5517330" y="2575728"/>
                <a:ext cx="81668" cy="94212"/>
              </a:xfrm>
              <a:custGeom>
                <a:avLst/>
                <a:gdLst>
                  <a:gd name="connsiteX0" fmla="*/ 81102 w 81668"/>
                  <a:gd name="connsiteY0" fmla="*/ -187 h 94212"/>
                  <a:gd name="connsiteX1" fmla="*/ 57843 w 81668"/>
                  <a:gd name="connsiteY1" fmla="*/ 17192 h 94212"/>
                  <a:gd name="connsiteX2" fmla="*/ 42162 w 81668"/>
                  <a:gd name="connsiteY2" fmla="*/ 54237 h 94212"/>
                  <a:gd name="connsiteX3" fmla="*/ -567 w 81668"/>
                  <a:gd name="connsiteY3" fmla="*/ 94026 h 94212"/>
                </a:gdLst>
                <a:ahLst/>
                <a:cxnLst>
                  <a:cxn ang="0">
                    <a:pos x="connsiteX0" y="connsiteY0"/>
                  </a:cxn>
                  <a:cxn ang="0">
                    <a:pos x="connsiteX1" y="connsiteY1"/>
                  </a:cxn>
                  <a:cxn ang="0">
                    <a:pos x="connsiteX2" y="connsiteY2"/>
                  </a:cxn>
                  <a:cxn ang="0">
                    <a:pos x="connsiteX3" y="connsiteY3"/>
                  </a:cxn>
                </a:cxnLst>
                <a:rect l="l" t="t" r="r" b="b"/>
                <a:pathLst>
                  <a:path w="81668" h="94212">
                    <a:moveTo>
                      <a:pt x="81102" y="-187"/>
                    </a:moveTo>
                    <a:cubicBezTo>
                      <a:pt x="75489" y="8026"/>
                      <a:pt x="67309" y="14134"/>
                      <a:pt x="57843" y="17192"/>
                    </a:cubicBezTo>
                    <a:cubicBezTo>
                      <a:pt x="57843" y="17192"/>
                      <a:pt x="66467" y="44829"/>
                      <a:pt x="42162" y="54237"/>
                    </a:cubicBezTo>
                    <a:cubicBezTo>
                      <a:pt x="42162" y="54237"/>
                      <a:pt x="57451" y="93960"/>
                      <a:pt x="-567" y="94026"/>
                    </a:cubicBezTo>
                  </a:path>
                </a:pathLst>
              </a:custGeom>
              <a:noFill/>
              <a:ln w="1633" cap="rnd">
                <a:solidFill>
                  <a:srgbClr val="263238"/>
                </a:solidFill>
                <a:prstDash val="solid"/>
                <a:round/>
              </a:ln>
            </p:spPr>
            <p:txBody>
              <a:bodyPr rtlCol="0" anchor="ctr"/>
              <a:lstStyle/>
              <a:p>
                <a:endParaRPr lang="zh-CN" altLang="en-US"/>
              </a:p>
            </p:txBody>
          </p:sp>
          <p:sp>
            <p:nvSpPr>
              <p:cNvPr id="35" name="ïşḷíḑe"/>
              <p:cNvSpPr/>
              <p:nvPr/>
            </p:nvSpPr>
            <p:spPr>
              <a:xfrm>
                <a:off x="5471465" y="2602909"/>
                <a:ext cx="84935" cy="26067"/>
              </a:xfrm>
              <a:custGeom>
                <a:avLst/>
                <a:gdLst>
                  <a:gd name="connsiteX0" fmla="*/ 84368 w 84935"/>
                  <a:gd name="connsiteY0" fmla="*/ 25880 h 26067"/>
                  <a:gd name="connsiteX1" fmla="*/ -567 w 84935"/>
                  <a:gd name="connsiteY1" fmla="*/ 138 h 26067"/>
                </a:gdLst>
                <a:ahLst/>
                <a:cxnLst>
                  <a:cxn ang="0">
                    <a:pos x="connsiteX0" y="connsiteY0"/>
                  </a:cxn>
                  <a:cxn ang="0">
                    <a:pos x="connsiteX1" y="connsiteY1"/>
                  </a:cxn>
                </a:cxnLst>
                <a:rect l="l" t="t" r="r" b="b"/>
                <a:pathLst>
                  <a:path w="84935" h="26067">
                    <a:moveTo>
                      <a:pt x="84368" y="25880"/>
                    </a:moveTo>
                    <a:cubicBezTo>
                      <a:pt x="84368" y="25880"/>
                      <a:pt x="19818" y="-3586"/>
                      <a:pt x="-567" y="138"/>
                    </a:cubicBezTo>
                  </a:path>
                </a:pathLst>
              </a:custGeom>
              <a:noFill/>
              <a:ln w="1633" cap="rnd">
                <a:solidFill>
                  <a:srgbClr val="263238"/>
                </a:solidFill>
                <a:prstDash val="solid"/>
                <a:round/>
              </a:ln>
            </p:spPr>
            <p:txBody>
              <a:bodyPr rtlCol="0" anchor="ctr"/>
              <a:lstStyle/>
              <a:p>
                <a:endParaRPr lang="zh-CN" altLang="en-US"/>
              </a:p>
            </p:txBody>
          </p:sp>
          <p:sp>
            <p:nvSpPr>
              <p:cNvPr id="36" name="íṧļiḋê"/>
              <p:cNvSpPr/>
              <p:nvPr/>
            </p:nvSpPr>
            <p:spPr>
              <a:xfrm>
                <a:off x="5490412" y="2561598"/>
                <a:ext cx="77029" cy="31117"/>
              </a:xfrm>
              <a:custGeom>
                <a:avLst/>
                <a:gdLst>
                  <a:gd name="connsiteX0" fmla="*/ 76463 w 77029"/>
                  <a:gd name="connsiteY0" fmla="*/ 30931 h 31117"/>
                  <a:gd name="connsiteX1" fmla="*/ -567 w 77029"/>
                  <a:gd name="connsiteY1" fmla="*/ 1008 h 31117"/>
                </a:gdLst>
                <a:ahLst/>
                <a:cxnLst>
                  <a:cxn ang="0">
                    <a:pos x="connsiteX0" y="connsiteY0"/>
                  </a:cxn>
                  <a:cxn ang="0">
                    <a:pos x="connsiteX1" y="connsiteY1"/>
                  </a:cxn>
                </a:cxnLst>
                <a:rect l="l" t="t" r="r" b="b"/>
                <a:pathLst>
                  <a:path w="77029" h="31117">
                    <a:moveTo>
                      <a:pt x="76463" y="30931"/>
                    </a:moveTo>
                    <a:cubicBezTo>
                      <a:pt x="76463" y="30931"/>
                      <a:pt x="17661" y="-7355"/>
                      <a:pt x="-567" y="1008"/>
                    </a:cubicBezTo>
                  </a:path>
                </a:pathLst>
              </a:custGeom>
              <a:noFill/>
              <a:ln w="1633" cap="rnd">
                <a:solidFill>
                  <a:srgbClr val="263238"/>
                </a:solidFill>
                <a:prstDash val="solid"/>
                <a:round/>
              </a:ln>
            </p:spPr>
            <p:txBody>
              <a:bodyPr rtlCol="0" anchor="ctr"/>
              <a:lstStyle/>
              <a:p>
                <a:endParaRPr lang="zh-CN" altLang="en-US"/>
              </a:p>
            </p:txBody>
          </p:sp>
          <p:sp>
            <p:nvSpPr>
              <p:cNvPr id="37" name="îsliďe"/>
              <p:cNvSpPr/>
              <p:nvPr/>
            </p:nvSpPr>
            <p:spPr>
              <a:xfrm>
                <a:off x="5409920" y="2628715"/>
                <a:ext cx="16236" cy="68536"/>
              </a:xfrm>
              <a:custGeom>
                <a:avLst/>
                <a:gdLst>
                  <a:gd name="connsiteX0" fmla="*/ -567 w 16236"/>
                  <a:gd name="connsiteY0" fmla="*/ 68349 h 68536"/>
                  <a:gd name="connsiteX1" fmla="*/ 13611 w 16236"/>
                  <a:gd name="connsiteY1" fmla="*/ -187 h 68536"/>
                </a:gdLst>
                <a:ahLst/>
                <a:cxnLst>
                  <a:cxn ang="0">
                    <a:pos x="connsiteX0" y="connsiteY0"/>
                  </a:cxn>
                  <a:cxn ang="0">
                    <a:pos x="connsiteX1" y="connsiteY1"/>
                  </a:cxn>
                </a:cxnLst>
                <a:rect l="l" t="t" r="r" b="b"/>
                <a:pathLst>
                  <a:path w="16236" h="68536">
                    <a:moveTo>
                      <a:pt x="-567" y="68349"/>
                    </a:moveTo>
                    <a:cubicBezTo>
                      <a:pt x="-567" y="68349"/>
                      <a:pt x="22562" y="33068"/>
                      <a:pt x="13611" y="-187"/>
                    </a:cubicBezTo>
                  </a:path>
                </a:pathLst>
              </a:custGeom>
              <a:noFill/>
              <a:ln w="1633" cap="rnd">
                <a:solidFill>
                  <a:srgbClr val="263238"/>
                </a:solidFill>
                <a:prstDash val="solid"/>
                <a:round/>
              </a:ln>
            </p:spPr>
            <p:txBody>
              <a:bodyPr rtlCol="0" anchor="ctr"/>
              <a:lstStyle/>
              <a:p>
                <a:endParaRPr lang="zh-CN" altLang="en-US"/>
              </a:p>
            </p:txBody>
          </p:sp>
          <p:sp>
            <p:nvSpPr>
              <p:cNvPr id="38" name="iSlíďê"/>
              <p:cNvSpPr/>
              <p:nvPr/>
            </p:nvSpPr>
            <p:spPr>
              <a:xfrm>
                <a:off x="5413579" y="2685033"/>
                <a:ext cx="36391" cy="11041"/>
              </a:xfrm>
              <a:custGeom>
                <a:avLst/>
                <a:gdLst>
                  <a:gd name="connsiteX0" fmla="*/ -567 w 36391"/>
                  <a:gd name="connsiteY0" fmla="*/ -187 h 11041"/>
                  <a:gd name="connsiteX1" fmla="*/ 35825 w 36391"/>
                  <a:gd name="connsiteY1" fmla="*/ 10855 h 11041"/>
                </a:gdLst>
                <a:ahLst/>
                <a:cxnLst>
                  <a:cxn ang="0">
                    <a:pos x="connsiteX0" y="connsiteY0"/>
                  </a:cxn>
                  <a:cxn ang="0">
                    <a:pos x="connsiteX1" y="connsiteY1"/>
                  </a:cxn>
                </a:cxnLst>
                <a:rect l="l" t="t" r="r" b="b"/>
                <a:pathLst>
                  <a:path w="36391" h="11041">
                    <a:moveTo>
                      <a:pt x="-567" y="-187"/>
                    </a:moveTo>
                    <a:cubicBezTo>
                      <a:pt x="11122" y="4824"/>
                      <a:pt x="23326" y="8529"/>
                      <a:pt x="35825" y="10855"/>
                    </a:cubicBezTo>
                  </a:path>
                </a:pathLst>
              </a:custGeom>
              <a:noFill/>
              <a:ln w="1633" cap="rnd">
                <a:solidFill>
                  <a:srgbClr val="263238"/>
                </a:solidFill>
                <a:prstDash val="solid"/>
                <a:round/>
              </a:ln>
            </p:spPr>
            <p:txBody>
              <a:bodyPr rtlCol="0" anchor="ctr"/>
              <a:lstStyle/>
              <a:p>
                <a:endParaRPr lang="zh-CN" altLang="en-US"/>
              </a:p>
            </p:txBody>
          </p:sp>
          <p:sp>
            <p:nvSpPr>
              <p:cNvPr id="39" name="ísľide"/>
              <p:cNvSpPr/>
              <p:nvPr/>
            </p:nvSpPr>
            <p:spPr>
              <a:xfrm>
                <a:off x="5426450" y="2602858"/>
                <a:ext cx="281396" cy="184554"/>
              </a:xfrm>
              <a:custGeom>
                <a:avLst/>
                <a:gdLst>
                  <a:gd name="connsiteX0" fmla="*/ 280830 w 281396"/>
                  <a:gd name="connsiteY0" fmla="*/ 119229 h 184554"/>
                  <a:gd name="connsiteX1" fmla="*/ 139446 w 281396"/>
                  <a:gd name="connsiteY1" fmla="*/ 62322 h 184554"/>
                  <a:gd name="connsiteX2" fmla="*/ 84368 w 281396"/>
                  <a:gd name="connsiteY2" fmla="*/ 65524 h 184554"/>
                  <a:gd name="connsiteX3" fmla="*/ -567 w 281396"/>
                  <a:gd name="connsiteY3" fmla="*/ 4371 h 184554"/>
                  <a:gd name="connsiteX4" fmla="*/ 51701 w 281396"/>
                  <a:gd name="connsiteY4" fmla="*/ 128180 h 184554"/>
                  <a:gd name="connsiteX5" fmla="*/ 194000 w 281396"/>
                  <a:gd name="connsiteY5" fmla="*/ 184368 h 184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1396" h="184554">
                    <a:moveTo>
                      <a:pt x="280830" y="119229"/>
                    </a:moveTo>
                    <a:cubicBezTo>
                      <a:pt x="280830" y="119229"/>
                      <a:pt x="206740" y="36776"/>
                      <a:pt x="139446" y="62322"/>
                    </a:cubicBezTo>
                    <a:cubicBezTo>
                      <a:pt x="121511" y="67229"/>
                      <a:pt x="102747" y="68320"/>
                      <a:pt x="84368" y="65524"/>
                    </a:cubicBezTo>
                    <a:cubicBezTo>
                      <a:pt x="84368" y="65524"/>
                      <a:pt x="32688" y="-20653"/>
                      <a:pt x="-567" y="4371"/>
                    </a:cubicBezTo>
                    <a:lnTo>
                      <a:pt x="51701" y="128180"/>
                    </a:lnTo>
                    <a:cubicBezTo>
                      <a:pt x="91503" y="162311"/>
                      <a:pt x="141614" y="182101"/>
                      <a:pt x="194000" y="184368"/>
                    </a:cubicBezTo>
                  </a:path>
                </a:pathLst>
              </a:custGeom>
              <a:solidFill>
                <a:srgbClr val="FCB9AE"/>
              </a:solidFill>
              <a:ln w="6531" cap="flat">
                <a:noFill/>
                <a:prstDash val="solid"/>
                <a:miter/>
              </a:ln>
            </p:spPr>
            <p:txBody>
              <a:bodyPr rtlCol="0" anchor="ctr"/>
              <a:lstStyle/>
              <a:p>
                <a:endParaRPr lang="zh-CN" altLang="en-US"/>
              </a:p>
            </p:txBody>
          </p:sp>
          <p:sp>
            <p:nvSpPr>
              <p:cNvPr id="40" name="isliḋe"/>
              <p:cNvSpPr/>
              <p:nvPr/>
            </p:nvSpPr>
            <p:spPr>
              <a:xfrm>
                <a:off x="5426450" y="2602858"/>
                <a:ext cx="281396" cy="184489"/>
              </a:xfrm>
              <a:custGeom>
                <a:avLst/>
                <a:gdLst>
                  <a:gd name="connsiteX0" fmla="*/ 280830 w 281396"/>
                  <a:gd name="connsiteY0" fmla="*/ 119229 h 184489"/>
                  <a:gd name="connsiteX1" fmla="*/ 139446 w 281396"/>
                  <a:gd name="connsiteY1" fmla="*/ 62322 h 184489"/>
                  <a:gd name="connsiteX2" fmla="*/ 84368 w 281396"/>
                  <a:gd name="connsiteY2" fmla="*/ 65524 h 184489"/>
                  <a:gd name="connsiteX3" fmla="*/ -567 w 281396"/>
                  <a:gd name="connsiteY3" fmla="*/ 4371 h 184489"/>
                  <a:gd name="connsiteX4" fmla="*/ 51701 w 281396"/>
                  <a:gd name="connsiteY4" fmla="*/ 128180 h 184489"/>
                  <a:gd name="connsiteX5" fmla="*/ 194000 w 281396"/>
                  <a:gd name="connsiteY5" fmla="*/ 184302 h 184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1396" h="184489">
                    <a:moveTo>
                      <a:pt x="280830" y="119229"/>
                    </a:moveTo>
                    <a:cubicBezTo>
                      <a:pt x="280830" y="119229"/>
                      <a:pt x="206740" y="36776"/>
                      <a:pt x="139446" y="62322"/>
                    </a:cubicBezTo>
                    <a:cubicBezTo>
                      <a:pt x="121511" y="67229"/>
                      <a:pt x="102747" y="68320"/>
                      <a:pt x="84368" y="65524"/>
                    </a:cubicBezTo>
                    <a:cubicBezTo>
                      <a:pt x="84368" y="65524"/>
                      <a:pt x="32688" y="-20653"/>
                      <a:pt x="-567" y="4371"/>
                    </a:cubicBezTo>
                    <a:lnTo>
                      <a:pt x="51701" y="128180"/>
                    </a:lnTo>
                    <a:cubicBezTo>
                      <a:pt x="91496" y="162324"/>
                      <a:pt x="141614" y="182087"/>
                      <a:pt x="194000" y="184302"/>
                    </a:cubicBezTo>
                  </a:path>
                </a:pathLst>
              </a:custGeom>
              <a:noFill/>
              <a:ln w="1633" cap="rnd">
                <a:solidFill>
                  <a:srgbClr val="263238"/>
                </a:solidFill>
                <a:prstDash val="solid"/>
                <a:round/>
              </a:ln>
            </p:spPr>
            <p:txBody>
              <a:bodyPr rtlCol="0" anchor="ctr"/>
              <a:lstStyle/>
              <a:p>
                <a:endParaRPr lang="zh-CN" altLang="en-US"/>
              </a:p>
            </p:txBody>
          </p:sp>
          <p:sp>
            <p:nvSpPr>
              <p:cNvPr id="41" name="ïślîḓe"/>
              <p:cNvSpPr/>
              <p:nvPr/>
            </p:nvSpPr>
            <p:spPr>
              <a:xfrm>
                <a:off x="5831329" y="2914263"/>
                <a:ext cx="673276" cy="646908"/>
              </a:xfrm>
              <a:custGeom>
                <a:avLst/>
                <a:gdLst>
                  <a:gd name="connsiteX0" fmla="*/ 602473 w 673276"/>
                  <a:gd name="connsiteY0" fmla="*/ 1933 h 646908"/>
                  <a:gd name="connsiteX1" fmla="*/ 670617 w 673276"/>
                  <a:gd name="connsiteY1" fmla="*/ 39873 h 646908"/>
                  <a:gd name="connsiteX2" fmla="*/ 671466 w 673276"/>
                  <a:gd name="connsiteY2" fmla="*/ 66615 h 646908"/>
                  <a:gd name="connsiteX3" fmla="*/ 532173 w 673276"/>
                  <a:gd name="connsiteY3" fmla="*/ 350298 h 646908"/>
                  <a:gd name="connsiteX4" fmla="*/ 144215 w 673276"/>
                  <a:gd name="connsiteY4" fmla="*/ 646722 h 646908"/>
                  <a:gd name="connsiteX5" fmla="*/ -567 w 673276"/>
                  <a:gd name="connsiteY5" fmla="*/ 303911 h 646908"/>
                  <a:gd name="connsiteX6" fmla="*/ 494409 w 673276"/>
                  <a:gd name="connsiteY6" fmla="*/ 32641 h 646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276" h="646908">
                    <a:moveTo>
                      <a:pt x="602473" y="1933"/>
                    </a:moveTo>
                    <a:cubicBezTo>
                      <a:pt x="631743" y="-6403"/>
                      <a:pt x="662254" y="10584"/>
                      <a:pt x="670617" y="39873"/>
                    </a:cubicBezTo>
                    <a:cubicBezTo>
                      <a:pt x="673100" y="48582"/>
                      <a:pt x="673361" y="57768"/>
                      <a:pt x="671466" y="66615"/>
                    </a:cubicBezTo>
                    <a:cubicBezTo>
                      <a:pt x="655198" y="142403"/>
                      <a:pt x="617827" y="254452"/>
                      <a:pt x="532173" y="350298"/>
                    </a:cubicBezTo>
                    <a:cubicBezTo>
                      <a:pt x="450831" y="441309"/>
                      <a:pt x="144215" y="646722"/>
                      <a:pt x="144215" y="646722"/>
                    </a:cubicBezTo>
                    <a:lnTo>
                      <a:pt x="-567" y="303911"/>
                    </a:lnTo>
                    <a:cubicBezTo>
                      <a:pt x="106452" y="207476"/>
                      <a:pt x="494409" y="32641"/>
                      <a:pt x="494409" y="32641"/>
                    </a:cubicBezTo>
                    <a:close/>
                  </a:path>
                </a:pathLst>
              </a:custGeom>
              <a:solidFill>
                <a:srgbClr val="FCB9AE"/>
              </a:solidFill>
              <a:ln w="6531" cap="flat">
                <a:noFill/>
                <a:prstDash val="solid"/>
                <a:miter/>
              </a:ln>
            </p:spPr>
            <p:txBody>
              <a:bodyPr rtlCol="0" anchor="ctr"/>
              <a:lstStyle/>
              <a:p>
                <a:endParaRPr lang="zh-CN" altLang="en-US"/>
              </a:p>
            </p:txBody>
          </p:sp>
          <p:sp>
            <p:nvSpPr>
              <p:cNvPr id="43" name="ïSľíḋe"/>
              <p:cNvSpPr/>
              <p:nvPr/>
            </p:nvSpPr>
            <p:spPr>
              <a:xfrm>
                <a:off x="5194903" y="3066484"/>
                <a:ext cx="348009" cy="396345"/>
              </a:xfrm>
              <a:custGeom>
                <a:avLst/>
                <a:gdLst>
                  <a:gd name="connsiteX0" fmla="*/ 26678 w 348009"/>
                  <a:gd name="connsiteY0" fmla="*/ 310062 h 396345"/>
                  <a:gd name="connsiteX1" fmla="*/ 61501 w 348009"/>
                  <a:gd name="connsiteY1" fmla="*/ 372260 h 396345"/>
                  <a:gd name="connsiteX2" fmla="*/ 346230 w 348009"/>
                  <a:gd name="connsiteY2" fmla="*/ 320972 h 396345"/>
                  <a:gd name="connsiteX3" fmla="*/ 301149 w 348009"/>
                  <a:gd name="connsiteY3" fmla="*/ 236037 h 396345"/>
                  <a:gd name="connsiteX4" fmla="*/ 333816 w 348009"/>
                  <a:gd name="connsiteY4" fmla="*/ 138035 h 396345"/>
                  <a:gd name="connsiteX5" fmla="*/ 309316 w 348009"/>
                  <a:gd name="connsiteY5" fmla="*/ 40033 h 396345"/>
                  <a:gd name="connsiteX6" fmla="*/ -567 w 348009"/>
                  <a:gd name="connsiteY6" fmla="*/ 77797 h 396345"/>
                  <a:gd name="connsiteX7" fmla="*/ 26678 w 348009"/>
                  <a:gd name="connsiteY7" fmla="*/ 310062 h 396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8009" h="396345">
                    <a:moveTo>
                      <a:pt x="26678" y="310062"/>
                    </a:moveTo>
                    <a:cubicBezTo>
                      <a:pt x="26678" y="310062"/>
                      <a:pt x="5248" y="350896"/>
                      <a:pt x="61501" y="372260"/>
                    </a:cubicBezTo>
                    <a:cubicBezTo>
                      <a:pt x="207393" y="426749"/>
                      <a:pt x="362760" y="378794"/>
                      <a:pt x="346230" y="320972"/>
                    </a:cubicBezTo>
                    <a:cubicBezTo>
                      <a:pt x="339696" y="298955"/>
                      <a:pt x="306702" y="317248"/>
                      <a:pt x="301149" y="236037"/>
                    </a:cubicBezTo>
                    <a:cubicBezTo>
                      <a:pt x="296445" y="167109"/>
                      <a:pt x="319508" y="157636"/>
                      <a:pt x="333816" y="138035"/>
                    </a:cubicBezTo>
                    <a:cubicBezTo>
                      <a:pt x="349366" y="116148"/>
                      <a:pt x="291610" y="60091"/>
                      <a:pt x="309316" y="40033"/>
                    </a:cubicBezTo>
                    <a:cubicBezTo>
                      <a:pt x="309316" y="40033"/>
                      <a:pt x="171133" y="-71951"/>
                      <a:pt x="-567" y="77797"/>
                    </a:cubicBezTo>
                    <a:cubicBezTo>
                      <a:pt x="-44" y="76490"/>
                      <a:pt x="63788" y="109157"/>
                      <a:pt x="26678" y="310062"/>
                    </a:cubicBezTo>
                    <a:close/>
                  </a:path>
                </a:pathLst>
              </a:custGeom>
              <a:solidFill>
                <a:srgbClr val="FCB9AE"/>
              </a:solidFill>
              <a:ln w="6531" cap="flat">
                <a:noFill/>
                <a:prstDash val="solid"/>
                <a:miter/>
              </a:ln>
            </p:spPr>
            <p:txBody>
              <a:bodyPr rtlCol="0" anchor="ctr"/>
              <a:lstStyle/>
              <a:p>
                <a:endParaRPr lang="zh-CN" altLang="en-US"/>
              </a:p>
            </p:txBody>
          </p:sp>
          <p:sp>
            <p:nvSpPr>
              <p:cNvPr id="44" name="íṣḻïdè"/>
              <p:cNvSpPr/>
              <p:nvPr/>
            </p:nvSpPr>
            <p:spPr>
              <a:xfrm>
                <a:off x="4899511" y="4609513"/>
                <a:ext cx="1944319" cy="887040"/>
              </a:xfrm>
              <a:custGeom>
                <a:avLst/>
                <a:gdLst>
                  <a:gd name="connsiteX0" fmla="*/ 35773 w 1944319"/>
                  <a:gd name="connsiteY0" fmla="*/ 675852 h 887040"/>
                  <a:gd name="connsiteX1" fmla="*/ 840044 w 1944319"/>
                  <a:gd name="connsiteY1" fmla="*/ 886426 h 887040"/>
                  <a:gd name="connsiteX2" fmla="*/ 1865799 w 1944319"/>
                  <a:gd name="connsiteY2" fmla="*/ 465343 h 887040"/>
                  <a:gd name="connsiteX3" fmla="*/ 1850772 w 1944319"/>
                  <a:gd name="connsiteY3" fmla="*/ 42301 h 887040"/>
                  <a:gd name="connsiteX4" fmla="*/ 1804319 w 1944319"/>
                  <a:gd name="connsiteY4" fmla="*/ 12312 h 887040"/>
                  <a:gd name="connsiteX5" fmla="*/ 900870 w 1944319"/>
                  <a:gd name="connsiteY5" fmla="*/ 149515 h 887040"/>
                  <a:gd name="connsiteX6" fmla="*/ 834359 w 1944319"/>
                  <a:gd name="connsiteY6" fmla="*/ 121160 h 887040"/>
                  <a:gd name="connsiteX7" fmla="*/ 629600 w 1944319"/>
                  <a:gd name="connsiteY7" fmla="*/ 203808 h 887040"/>
                  <a:gd name="connsiteX8" fmla="*/ 205382 w 1944319"/>
                  <a:gd name="connsiteY8" fmla="*/ 213935 h 887040"/>
                  <a:gd name="connsiteX9" fmla="*/ 164221 w 1944319"/>
                  <a:gd name="connsiteY9" fmla="*/ 243728 h 887040"/>
                  <a:gd name="connsiteX10" fmla="*/ 35773 w 1944319"/>
                  <a:gd name="connsiteY10" fmla="*/ 675852 h 887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44319" h="887040">
                    <a:moveTo>
                      <a:pt x="35773" y="675852"/>
                    </a:moveTo>
                    <a:cubicBezTo>
                      <a:pt x="126719" y="823247"/>
                      <a:pt x="588178" y="893025"/>
                      <a:pt x="840044" y="886426"/>
                    </a:cubicBezTo>
                    <a:cubicBezTo>
                      <a:pt x="1091909" y="879827"/>
                      <a:pt x="1816733" y="538192"/>
                      <a:pt x="1865799" y="465343"/>
                    </a:cubicBezTo>
                    <a:cubicBezTo>
                      <a:pt x="1911533" y="398375"/>
                      <a:pt x="2023256" y="176368"/>
                      <a:pt x="1850772" y="42301"/>
                    </a:cubicBezTo>
                    <a:cubicBezTo>
                      <a:pt x="1836137" y="31050"/>
                      <a:pt x="1820587" y="21021"/>
                      <a:pt x="1804319" y="12312"/>
                    </a:cubicBezTo>
                    <a:cubicBezTo>
                      <a:pt x="1686194" y="-51454"/>
                      <a:pt x="900870" y="149515"/>
                      <a:pt x="900870" y="149515"/>
                    </a:cubicBezTo>
                    <a:cubicBezTo>
                      <a:pt x="900870" y="149515"/>
                      <a:pt x="852196" y="118873"/>
                      <a:pt x="834359" y="121160"/>
                    </a:cubicBezTo>
                    <a:cubicBezTo>
                      <a:pt x="779544" y="128085"/>
                      <a:pt x="740277" y="172317"/>
                      <a:pt x="629600" y="203808"/>
                    </a:cubicBezTo>
                    <a:cubicBezTo>
                      <a:pt x="552114" y="225891"/>
                      <a:pt x="340494" y="140956"/>
                      <a:pt x="205382" y="213935"/>
                    </a:cubicBezTo>
                    <a:cubicBezTo>
                      <a:pt x="190368" y="221945"/>
                      <a:pt x="176524" y="231967"/>
                      <a:pt x="164221" y="243728"/>
                    </a:cubicBezTo>
                    <a:cubicBezTo>
                      <a:pt x="38060" y="364074"/>
                      <a:pt x="-55042" y="528130"/>
                      <a:pt x="35773" y="675852"/>
                    </a:cubicBezTo>
                    <a:close/>
                  </a:path>
                </a:pathLst>
              </a:custGeom>
              <a:solidFill>
                <a:srgbClr val="557FF6"/>
              </a:solidFill>
              <a:ln w="6531" cap="flat">
                <a:noFill/>
                <a:prstDash val="solid"/>
                <a:miter/>
              </a:ln>
            </p:spPr>
            <p:txBody>
              <a:bodyPr rtlCol="0" anchor="ctr"/>
              <a:lstStyle/>
              <a:p>
                <a:endParaRPr lang="zh-CN" altLang="en-US"/>
              </a:p>
            </p:txBody>
          </p:sp>
          <p:sp>
            <p:nvSpPr>
              <p:cNvPr id="45" name="î$ḷîďe"/>
              <p:cNvSpPr/>
              <p:nvPr/>
            </p:nvSpPr>
            <p:spPr>
              <a:xfrm>
                <a:off x="5101082" y="4613977"/>
                <a:ext cx="1648657" cy="573637"/>
              </a:xfrm>
              <a:custGeom>
                <a:avLst/>
                <a:gdLst>
                  <a:gd name="connsiteX0" fmla="*/ -567 w 1648657"/>
                  <a:gd name="connsiteY0" fmla="*/ 212999 h 573637"/>
                  <a:gd name="connsiteX1" fmla="*/ 348321 w 1648657"/>
                  <a:gd name="connsiteY1" fmla="*/ 283038 h 573637"/>
                  <a:gd name="connsiteX2" fmla="*/ 934569 w 1648657"/>
                  <a:gd name="connsiteY2" fmla="*/ 573451 h 573637"/>
                  <a:gd name="connsiteX3" fmla="*/ 906541 w 1648657"/>
                  <a:gd name="connsiteY3" fmla="*/ 498773 h 573637"/>
                  <a:gd name="connsiteX4" fmla="*/ 1071054 w 1648657"/>
                  <a:gd name="connsiteY4" fmla="*/ 427559 h 573637"/>
                  <a:gd name="connsiteX5" fmla="*/ 1648091 w 1648657"/>
                  <a:gd name="connsiteY5" fmla="*/ 42084 h 573637"/>
                  <a:gd name="connsiteX6" fmla="*/ 1601571 w 1648657"/>
                  <a:gd name="connsiteY6" fmla="*/ 12226 h 573637"/>
                  <a:gd name="connsiteX7" fmla="*/ 696294 w 1648657"/>
                  <a:gd name="connsiteY7" fmla="*/ 148775 h 573637"/>
                  <a:gd name="connsiteX8" fmla="*/ 629652 w 1648657"/>
                  <a:gd name="connsiteY8" fmla="*/ 120485 h 573637"/>
                  <a:gd name="connsiteX9" fmla="*/ 424566 w 1648657"/>
                  <a:gd name="connsiteY9" fmla="*/ 202676 h 573637"/>
                  <a:gd name="connsiteX10" fmla="*/ -567 w 1648657"/>
                  <a:gd name="connsiteY10" fmla="*/ 212999 h 57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8657" h="573637">
                    <a:moveTo>
                      <a:pt x="-567" y="212999"/>
                    </a:moveTo>
                    <a:cubicBezTo>
                      <a:pt x="138205" y="203787"/>
                      <a:pt x="261949" y="232600"/>
                      <a:pt x="348321" y="283038"/>
                    </a:cubicBezTo>
                    <a:cubicBezTo>
                      <a:pt x="450766" y="342950"/>
                      <a:pt x="934569" y="573451"/>
                      <a:pt x="934569" y="573451"/>
                    </a:cubicBezTo>
                    <a:cubicBezTo>
                      <a:pt x="933459" y="548689"/>
                      <a:pt x="906541" y="498773"/>
                      <a:pt x="906541" y="498773"/>
                    </a:cubicBezTo>
                    <a:cubicBezTo>
                      <a:pt x="952275" y="458854"/>
                      <a:pt x="1071054" y="427559"/>
                      <a:pt x="1071054" y="427559"/>
                    </a:cubicBezTo>
                    <a:cubicBezTo>
                      <a:pt x="1163241" y="349614"/>
                      <a:pt x="1528397" y="117219"/>
                      <a:pt x="1648091" y="42084"/>
                    </a:cubicBezTo>
                    <a:cubicBezTo>
                      <a:pt x="1633455" y="30859"/>
                      <a:pt x="1617905" y="20876"/>
                      <a:pt x="1601571" y="12226"/>
                    </a:cubicBezTo>
                    <a:cubicBezTo>
                      <a:pt x="1483251" y="-51149"/>
                      <a:pt x="696294" y="148775"/>
                      <a:pt x="696294" y="148775"/>
                    </a:cubicBezTo>
                    <a:cubicBezTo>
                      <a:pt x="696294" y="148775"/>
                      <a:pt x="647554" y="118264"/>
                      <a:pt x="629652" y="120485"/>
                    </a:cubicBezTo>
                    <a:cubicBezTo>
                      <a:pt x="574771" y="127411"/>
                      <a:pt x="535440" y="171381"/>
                      <a:pt x="424566" y="202676"/>
                    </a:cubicBezTo>
                    <a:cubicBezTo>
                      <a:pt x="346492" y="224629"/>
                      <a:pt x="134872" y="140216"/>
                      <a:pt x="-567" y="212999"/>
                    </a:cubicBezTo>
                    <a:close/>
                  </a:path>
                </a:pathLst>
              </a:custGeom>
              <a:solidFill>
                <a:srgbClr val="445FA3"/>
              </a:solidFill>
              <a:ln w="6531" cap="flat">
                <a:noFill/>
                <a:prstDash val="solid"/>
                <a:miter/>
              </a:ln>
            </p:spPr>
            <p:txBody>
              <a:bodyPr rtlCol="0" anchor="ctr"/>
              <a:lstStyle/>
              <a:p>
                <a:endParaRPr lang="zh-CN" altLang="en-US"/>
              </a:p>
            </p:txBody>
          </p:sp>
          <p:sp>
            <p:nvSpPr>
              <p:cNvPr id="46" name="íṥḻiḋé"/>
              <p:cNvSpPr/>
              <p:nvPr/>
            </p:nvSpPr>
            <p:spPr>
              <a:xfrm>
                <a:off x="5101082" y="4613977"/>
                <a:ext cx="1648657" cy="573637"/>
              </a:xfrm>
              <a:custGeom>
                <a:avLst/>
                <a:gdLst>
                  <a:gd name="connsiteX0" fmla="*/ -567 w 1648657"/>
                  <a:gd name="connsiteY0" fmla="*/ 212999 h 573637"/>
                  <a:gd name="connsiteX1" fmla="*/ 348321 w 1648657"/>
                  <a:gd name="connsiteY1" fmla="*/ 283038 h 573637"/>
                  <a:gd name="connsiteX2" fmla="*/ 934569 w 1648657"/>
                  <a:gd name="connsiteY2" fmla="*/ 573451 h 573637"/>
                  <a:gd name="connsiteX3" fmla="*/ 906541 w 1648657"/>
                  <a:gd name="connsiteY3" fmla="*/ 498773 h 573637"/>
                  <a:gd name="connsiteX4" fmla="*/ 1071054 w 1648657"/>
                  <a:gd name="connsiteY4" fmla="*/ 427559 h 573637"/>
                  <a:gd name="connsiteX5" fmla="*/ 1648091 w 1648657"/>
                  <a:gd name="connsiteY5" fmla="*/ 42084 h 573637"/>
                  <a:gd name="connsiteX6" fmla="*/ 1601571 w 1648657"/>
                  <a:gd name="connsiteY6" fmla="*/ 12226 h 573637"/>
                  <a:gd name="connsiteX7" fmla="*/ 696294 w 1648657"/>
                  <a:gd name="connsiteY7" fmla="*/ 148775 h 573637"/>
                  <a:gd name="connsiteX8" fmla="*/ 629652 w 1648657"/>
                  <a:gd name="connsiteY8" fmla="*/ 120485 h 573637"/>
                  <a:gd name="connsiteX9" fmla="*/ 424566 w 1648657"/>
                  <a:gd name="connsiteY9" fmla="*/ 202676 h 573637"/>
                  <a:gd name="connsiteX10" fmla="*/ -567 w 1648657"/>
                  <a:gd name="connsiteY10" fmla="*/ 212999 h 57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8657" h="573637">
                    <a:moveTo>
                      <a:pt x="-567" y="212999"/>
                    </a:moveTo>
                    <a:cubicBezTo>
                      <a:pt x="138205" y="203787"/>
                      <a:pt x="261949" y="232600"/>
                      <a:pt x="348321" y="283038"/>
                    </a:cubicBezTo>
                    <a:cubicBezTo>
                      <a:pt x="450766" y="342950"/>
                      <a:pt x="934569" y="573451"/>
                      <a:pt x="934569" y="573451"/>
                    </a:cubicBezTo>
                    <a:cubicBezTo>
                      <a:pt x="933459" y="548689"/>
                      <a:pt x="906541" y="498773"/>
                      <a:pt x="906541" y="498773"/>
                    </a:cubicBezTo>
                    <a:cubicBezTo>
                      <a:pt x="952275" y="458854"/>
                      <a:pt x="1071054" y="427559"/>
                      <a:pt x="1071054" y="427559"/>
                    </a:cubicBezTo>
                    <a:cubicBezTo>
                      <a:pt x="1163241" y="349614"/>
                      <a:pt x="1528397" y="117219"/>
                      <a:pt x="1648091" y="42084"/>
                    </a:cubicBezTo>
                    <a:cubicBezTo>
                      <a:pt x="1633455" y="30859"/>
                      <a:pt x="1617905" y="20876"/>
                      <a:pt x="1601571" y="12226"/>
                    </a:cubicBezTo>
                    <a:cubicBezTo>
                      <a:pt x="1483251" y="-51149"/>
                      <a:pt x="696294" y="148775"/>
                      <a:pt x="696294" y="148775"/>
                    </a:cubicBezTo>
                    <a:cubicBezTo>
                      <a:pt x="696294" y="148775"/>
                      <a:pt x="647554" y="118264"/>
                      <a:pt x="629652" y="120485"/>
                    </a:cubicBezTo>
                    <a:cubicBezTo>
                      <a:pt x="574771" y="127411"/>
                      <a:pt x="535440" y="171381"/>
                      <a:pt x="424566" y="202676"/>
                    </a:cubicBezTo>
                    <a:cubicBezTo>
                      <a:pt x="346492" y="224629"/>
                      <a:pt x="134872" y="140216"/>
                      <a:pt x="-567" y="212999"/>
                    </a:cubicBezTo>
                    <a:close/>
                  </a:path>
                </a:pathLst>
              </a:custGeom>
              <a:noFill/>
              <a:ln w="1633" cap="flat">
                <a:solidFill>
                  <a:srgbClr val="000000"/>
                </a:solidFill>
                <a:prstDash val="solid"/>
                <a:miter/>
              </a:ln>
            </p:spPr>
            <p:txBody>
              <a:bodyPr rtlCol="0" anchor="ctr"/>
              <a:lstStyle/>
              <a:p>
                <a:endParaRPr lang="zh-CN" altLang="en-US"/>
              </a:p>
            </p:txBody>
          </p:sp>
          <p:sp>
            <p:nvSpPr>
              <p:cNvPr id="47" name="ïṣliḓè"/>
              <p:cNvSpPr/>
              <p:nvPr/>
            </p:nvSpPr>
            <p:spPr>
              <a:xfrm>
                <a:off x="4895005" y="4613976"/>
                <a:ext cx="1944369" cy="887077"/>
              </a:xfrm>
              <a:custGeom>
                <a:avLst/>
                <a:gdLst>
                  <a:gd name="connsiteX0" fmla="*/ 35771 w 1944369"/>
                  <a:gd name="connsiteY0" fmla="*/ 675897 h 887077"/>
                  <a:gd name="connsiteX1" fmla="*/ 840107 w 1944369"/>
                  <a:gd name="connsiteY1" fmla="*/ 886471 h 887077"/>
                  <a:gd name="connsiteX2" fmla="*/ 1865863 w 1944369"/>
                  <a:gd name="connsiteY2" fmla="*/ 465323 h 887077"/>
                  <a:gd name="connsiteX3" fmla="*/ 1850771 w 1944369"/>
                  <a:gd name="connsiteY3" fmla="*/ 42346 h 887077"/>
                  <a:gd name="connsiteX4" fmla="*/ 1804318 w 1944369"/>
                  <a:gd name="connsiteY4" fmla="*/ 12292 h 887077"/>
                  <a:gd name="connsiteX5" fmla="*/ 900869 w 1944369"/>
                  <a:gd name="connsiteY5" fmla="*/ 149495 h 887077"/>
                  <a:gd name="connsiteX6" fmla="*/ 834358 w 1944369"/>
                  <a:gd name="connsiteY6" fmla="*/ 121074 h 887077"/>
                  <a:gd name="connsiteX7" fmla="*/ 629664 w 1944369"/>
                  <a:gd name="connsiteY7" fmla="*/ 203723 h 887077"/>
                  <a:gd name="connsiteX8" fmla="*/ 205381 w 1944369"/>
                  <a:gd name="connsiteY8" fmla="*/ 213915 h 887077"/>
                  <a:gd name="connsiteX9" fmla="*/ 164285 w 1944369"/>
                  <a:gd name="connsiteY9" fmla="*/ 243642 h 887077"/>
                  <a:gd name="connsiteX10" fmla="*/ 35771 w 1944369"/>
                  <a:gd name="connsiteY10" fmla="*/ 675897 h 887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44369" h="887077">
                    <a:moveTo>
                      <a:pt x="35771" y="675897"/>
                    </a:moveTo>
                    <a:cubicBezTo>
                      <a:pt x="126717" y="823227"/>
                      <a:pt x="587915" y="893004"/>
                      <a:pt x="840107" y="886471"/>
                    </a:cubicBezTo>
                    <a:cubicBezTo>
                      <a:pt x="1092300" y="879937"/>
                      <a:pt x="1816731" y="538171"/>
                      <a:pt x="1865863" y="465323"/>
                    </a:cubicBezTo>
                    <a:cubicBezTo>
                      <a:pt x="1911597" y="398355"/>
                      <a:pt x="2023319" y="176413"/>
                      <a:pt x="1850771" y="42346"/>
                    </a:cubicBezTo>
                    <a:cubicBezTo>
                      <a:pt x="1836136" y="31063"/>
                      <a:pt x="1820586" y="21008"/>
                      <a:pt x="1804318" y="12292"/>
                    </a:cubicBezTo>
                    <a:cubicBezTo>
                      <a:pt x="1686258" y="-51409"/>
                      <a:pt x="900869" y="149495"/>
                      <a:pt x="900869" y="149495"/>
                    </a:cubicBezTo>
                    <a:cubicBezTo>
                      <a:pt x="900869" y="149495"/>
                      <a:pt x="852260" y="118788"/>
                      <a:pt x="834358" y="121074"/>
                    </a:cubicBezTo>
                    <a:cubicBezTo>
                      <a:pt x="779542" y="128065"/>
                      <a:pt x="740341" y="172231"/>
                      <a:pt x="629664" y="203723"/>
                    </a:cubicBezTo>
                    <a:cubicBezTo>
                      <a:pt x="552112" y="225871"/>
                      <a:pt x="340558" y="140936"/>
                      <a:pt x="205381" y="213915"/>
                    </a:cubicBezTo>
                    <a:cubicBezTo>
                      <a:pt x="190399" y="221918"/>
                      <a:pt x="176575" y="231921"/>
                      <a:pt x="164285" y="243642"/>
                    </a:cubicBezTo>
                    <a:cubicBezTo>
                      <a:pt x="38058" y="364054"/>
                      <a:pt x="-55044" y="528175"/>
                      <a:pt x="35771" y="675897"/>
                    </a:cubicBezTo>
                    <a:close/>
                  </a:path>
                </a:pathLst>
              </a:custGeom>
              <a:noFill/>
              <a:ln w="1633" cap="rnd">
                <a:solidFill>
                  <a:srgbClr val="263238"/>
                </a:solidFill>
                <a:prstDash val="solid"/>
                <a:round/>
              </a:ln>
            </p:spPr>
            <p:txBody>
              <a:bodyPr rtlCol="0" anchor="ctr"/>
              <a:lstStyle/>
              <a:p>
                <a:endParaRPr lang="zh-CN" altLang="en-US"/>
              </a:p>
            </p:txBody>
          </p:sp>
          <p:sp>
            <p:nvSpPr>
              <p:cNvPr id="48" name="ïṥlïde"/>
              <p:cNvSpPr/>
              <p:nvPr/>
            </p:nvSpPr>
            <p:spPr>
              <a:xfrm>
                <a:off x="5065345" y="5420403"/>
                <a:ext cx="564492" cy="206092"/>
              </a:xfrm>
              <a:custGeom>
                <a:avLst/>
                <a:gdLst>
                  <a:gd name="connsiteX0" fmla="*/ 10867 w 564492"/>
                  <a:gd name="connsiteY0" fmla="*/ -187 h 206092"/>
                  <a:gd name="connsiteX1" fmla="*/ -567 w 564492"/>
                  <a:gd name="connsiteY1" fmla="*/ 51362 h 206092"/>
                  <a:gd name="connsiteX2" fmla="*/ 165776 w 564492"/>
                  <a:gd name="connsiteY2" fmla="*/ 155114 h 206092"/>
                  <a:gd name="connsiteX3" fmla="*/ 447368 w 564492"/>
                  <a:gd name="connsiteY3" fmla="*/ 204180 h 206092"/>
                  <a:gd name="connsiteX4" fmla="*/ 550467 w 564492"/>
                  <a:gd name="connsiteY4" fmla="*/ 202547 h 206092"/>
                  <a:gd name="connsiteX5" fmla="*/ 563926 w 564492"/>
                  <a:gd name="connsiteY5" fmla="*/ 182293 h 206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4492" h="206092">
                    <a:moveTo>
                      <a:pt x="10867" y="-187"/>
                    </a:moveTo>
                    <a:lnTo>
                      <a:pt x="-567" y="51362"/>
                    </a:lnTo>
                    <a:cubicBezTo>
                      <a:pt x="-567" y="51362"/>
                      <a:pt x="30271" y="140479"/>
                      <a:pt x="165776" y="155114"/>
                    </a:cubicBezTo>
                    <a:cubicBezTo>
                      <a:pt x="301280" y="169749"/>
                      <a:pt x="381380" y="200195"/>
                      <a:pt x="447368" y="204180"/>
                    </a:cubicBezTo>
                    <a:cubicBezTo>
                      <a:pt x="481708" y="206937"/>
                      <a:pt x="516231" y="206389"/>
                      <a:pt x="550467" y="202547"/>
                    </a:cubicBezTo>
                    <a:lnTo>
                      <a:pt x="563926" y="182293"/>
                    </a:lnTo>
                    <a:close/>
                  </a:path>
                </a:pathLst>
              </a:custGeom>
              <a:solidFill>
                <a:srgbClr val="FFFFFF"/>
              </a:solidFill>
              <a:ln w="6531" cap="flat">
                <a:noFill/>
                <a:prstDash val="solid"/>
                <a:miter/>
              </a:ln>
            </p:spPr>
            <p:txBody>
              <a:bodyPr rtlCol="0" anchor="ctr"/>
              <a:lstStyle/>
              <a:p>
                <a:endParaRPr lang="zh-CN" altLang="en-US"/>
              </a:p>
            </p:txBody>
          </p:sp>
          <p:sp>
            <p:nvSpPr>
              <p:cNvPr id="49" name="ïṣḷíḓé"/>
              <p:cNvSpPr/>
              <p:nvPr/>
            </p:nvSpPr>
            <p:spPr>
              <a:xfrm>
                <a:off x="5065345" y="5420403"/>
                <a:ext cx="564492" cy="206092"/>
              </a:xfrm>
              <a:custGeom>
                <a:avLst/>
                <a:gdLst>
                  <a:gd name="connsiteX0" fmla="*/ 10867 w 564492"/>
                  <a:gd name="connsiteY0" fmla="*/ -187 h 206092"/>
                  <a:gd name="connsiteX1" fmla="*/ -567 w 564492"/>
                  <a:gd name="connsiteY1" fmla="*/ 51362 h 206092"/>
                  <a:gd name="connsiteX2" fmla="*/ 165776 w 564492"/>
                  <a:gd name="connsiteY2" fmla="*/ 155114 h 206092"/>
                  <a:gd name="connsiteX3" fmla="*/ 447368 w 564492"/>
                  <a:gd name="connsiteY3" fmla="*/ 204180 h 206092"/>
                  <a:gd name="connsiteX4" fmla="*/ 550467 w 564492"/>
                  <a:gd name="connsiteY4" fmla="*/ 202547 h 206092"/>
                  <a:gd name="connsiteX5" fmla="*/ 563926 w 564492"/>
                  <a:gd name="connsiteY5" fmla="*/ 182293 h 206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4492" h="206092">
                    <a:moveTo>
                      <a:pt x="10867" y="-187"/>
                    </a:moveTo>
                    <a:lnTo>
                      <a:pt x="-567" y="51362"/>
                    </a:lnTo>
                    <a:cubicBezTo>
                      <a:pt x="-567" y="51362"/>
                      <a:pt x="30271" y="140479"/>
                      <a:pt x="165776" y="155114"/>
                    </a:cubicBezTo>
                    <a:cubicBezTo>
                      <a:pt x="301280" y="169749"/>
                      <a:pt x="381380" y="200195"/>
                      <a:pt x="447368" y="204180"/>
                    </a:cubicBezTo>
                    <a:cubicBezTo>
                      <a:pt x="481708" y="206937"/>
                      <a:pt x="516231" y="206389"/>
                      <a:pt x="550467" y="202547"/>
                    </a:cubicBezTo>
                    <a:lnTo>
                      <a:pt x="563926" y="182293"/>
                    </a:lnTo>
                    <a:close/>
                  </a:path>
                </a:pathLst>
              </a:custGeom>
              <a:noFill/>
              <a:ln w="1633" cap="rnd">
                <a:solidFill>
                  <a:srgbClr val="263238"/>
                </a:solidFill>
                <a:prstDash val="solid"/>
                <a:round/>
              </a:ln>
            </p:spPr>
            <p:txBody>
              <a:bodyPr rtlCol="0" anchor="ctr"/>
              <a:lstStyle/>
              <a:p>
                <a:endParaRPr lang="zh-CN" altLang="en-US"/>
              </a:p>
            </p:txBody>
          </p:sp>
          <p:sp>
            <p:nvSpPr>
              <p:cNvPr id="50" name="işlïďé"/>
              <p:cNvSpPr/>
              <p:nvPr/>
            </p:nvSpPr>
            <p:spPr>
              <a:xfrm>
                <a:off x="5074390" y="5277058"/>
                <a:ext cx="788038" cy="331508"/>
              </a:xfrm>
              <a:custGeom>
                <a:avLst/>
                <a:gdLst>
                  <a:gd name="connsiteX0" fmla="*/ 787471 w 788038"/>
                  <a:gd name="connsiteY0" fmla="*/ 143027 h 331508"/>
                  <a:gd name="connsiteX1" fmla="*/ 552266 w 788038"/>
                  <a:gd name="connsiteY1" fmla="*/ 331321 h 331508"/>
                  <a:gd name="connsiteX2" fmla="*/ 214420 w 788038"/>
                  <a:gd name="connsiteY2" fmla="*/ 279838 h 331508"/>
                  <a:gd name="connsiteX3" fmla="*/ -8 w 788038"/>
                  <a:gd name="connsiteY3" fmla="*/ 164130 h 331508"/>
                  <a:gd name="connsiteX4" fmla="*/ 172475 w 788038"/>
                  <a:gd name="connsiteY4" fmla="*/ 67043 h 331508"/>
                  <a:gd name="connsiteX5" fmla="*/ 228533 w 788038"/>
                  <a:gd name="connsiteY5" fmla="*/ 70897 h 331508"/>
                  <a:gd name="connsiteX6" fmla="*/ 585130 w 788038"/>
                  <a:gd name="connsiteY6" fmla="*/ -187 h 331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8038" h="331508">
                    <a:moveTo>
                      <a:pt x="787471" y="143027"/>
                    </a:moveTo>
                    <a:lnTo>
                      <a:pt x="552266" y="331321"/>
                    </a:lnTo>
                    <a:cubicBezTo>
                      <a:pt x="438662" y="321456"/>
                      <a:pt x="325809" y="304253"/>
                      <a:pt x="214420" y="279838"/>
                    </a:cubicBezTo>
                    <a:cubicBezTo>
                      <a:pt x="102763" y="253704"/>
                      <a:pt x="5349" y="215875"/>
                      <a:pt x="-8" y="164130"/>
                    </a:cubicBezTo>
                    <a:cubicBezTo>
                      <a:pt x="-8175" y="85728"/>
                      <a:pt x="74408" y="64037"/>
                      <a:pt x="172475" y="67043"/>
                    </a:cubicBezTo>
                    <a:cubicBezTo>
                      <a:pt x="191213" y="67376"/>
                      <a:pt x="209925" y="68663"/>
                      <a:pt x="228533" y="70897"/>
                    </a:cubicBezTo>
                    <a:cubicBezTo>
                      <a:pt x="385336" y="88015"/>
                      <a:pt x="585130" y="-187"/>
                      <a:pt x="585130" y="-187"/>
                    </a:cubicBezTo>
                    <a:close/>
                  </a:path>
                </a:pathLst>
              </a:custGeom>
              <a:solidFill>
                <a:srgbClr val="263238"/>
              </a:solidFill>
              <a:ln w="6531" cap="flat">
                <a:noFill/>
                <a:prstDash val="solid"/>
                <a:miter/>
              </a:ln>
            </p:spPr>
            <p:txBody>
              <a:bodyPr rtlCol="0" anchor="ctr"/>
              <a:lstStyle/>
              <a:p>
                <a:endParaRPr lang="zh-CN" altLang="en-US"/>
              </a:p>
            </p:txBody>
          </p:sp>
          <p:sp>
            <p:nvSpPr>
              <p:cNvPr id="51" name="íşļïḍè"/>
              <p:cNvSpPr/>
              <p:nvPr/>
            </p:nvSpPr>
            <p:spPr>
              <a:xfrm>
                <a:off x="5074390" y="5277058"/>
                <a:ext cx="788038" cy="331508"/>
              </a:xfrm>
              <a:custGeom>
                <a:avLst/>
                <a:gdLst>
                  <a:gd name="connsiteX0" fmla="*/ 787471 w 788038"/>
                  <a:gd name="connsiteY0" fmla="*/ 143027 h 331508"/>
                  <a:gd name="connsiteX1" fmla="*/ 552266 w 788038"/>
                  <a:gd name="connsiteY1" fmla="*/ 331321 h 331508"/>
                  <a:gd name="connsiteX2" fmla="*/ 214420 w 788038"/>
                  <a:gd name="connsiteY2" fmla="*/ 279838 h 331508"/>
                  <a:gd name="connsiteX3" fmla="*/ -8 w 788038"/>
                  <a:gd name="connsiteY3" fmla="*/ 164130 h 331508"/>
                  <a:gd name="connsiteX4" fmla="*/ 172475 w 788038"/>
                  <a:gd name="connsiteY4" fmla="*/ 67043 h 331508"/>
                  <a:gd name="connsiteX5" fmla="*/ 228533 w 788038"/>
                  <a:gd name="connsiteY5" fmla="*/ 70897 h 331508"/>
                  <a:gd name="connsiteX6" fmla="*/ 585130 w 788038"/>
                  <a:gd name="connsiteY6" fmla="*/ -187 h 331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8038" h="331508">
                    <a:moveTo>
                      <a:pt x="787471" y="143027"/>
                    </a:moveTo>
                    <a:lnTo>
                      <a:pt x="552266" y="331321"/>
                    </a:lnTo>
                    <a:cubicBezTo>
                      <a:pt x="438662" y="321456"/>
                      <a:pt x="325809" y="304253"/>
                      <a:pt x="214420" y="279838"/>
                    </a:cubicBezTo>
                    <a:cubicBezTo>
                      <a:pt x="102763" y="253704"/>
                      <a:pt x="5349" y="215875"/>
                      <a:pt x="-8" y="164130"/>
                    </a:cubicBezTo>
                    <a:cubicBezTo>
                      <a:pt x="-8175" y="85728"/>
                      <a:pt x="74408" y="64037"/>
                      <a:pt x="172475" y="67043"/>
                    </a:cubicBezTo>
                    <a:cubicBezTo>
                      <a:pt x="191213" y="67376"/>
                      <a:pt x="209925" y="68663"/>
                      <a:pt x="228533" y="70897"/>
                    </a:cubicBezTo>
                    <a:cubicBezTo>
                      <a:pt x="385336" y="88015"/>
                      <a:pt x="585130" y="-187"/>
                      <a:pt x="585130" y="-187"/>
                    </a:cubicBezTo>
                    <a:close/>
                  </a:path>
                </a:pathLst>
              </a:custGeom>
              <a:noFill/>
              <a:ln w="1633" cap="flat">
                <a:solidFill>
                  <a:srgbClr val="000000"/>
                </a:solidFill>
                <a:prstDash val="solid"/>
                <a:miter/>
              </a:ln>
            </p:spPr>
            <p:txBody>
              <a:bodyPr rtlCol="0" anchor="ctr"/>
              <a:lstStyle/>
              <a:p>
                <a:endParaRPr lang="zh-CN" altLang="en-US"/>
              </a:p>
            </p:txBody>
          </p:sp>
          <p:sp>
            <p:nvSpPr>
              <p:cNvPr id="52" name="îşḷïḑé"/>
              <p:cNvSpPr/>
              <p:nvPr/>
            </p:nvSpPr>
            <p:spPr>
              <a:xfrm>
                <a:off x="5078678" y="5272158"/>
                <a:ext cx="788258" cy="277787"/>
              </a:xfrm>
              <a:custGeom>
                <a:avLst/>
                <a:gdLst>
                  <a:gd name="connsiteX0" fmla="*/ -180 w 788258"/>
                  <a:gd name="connsiteY0" fmla="*/ 162431 h 277787"/>
                  <a:gd name="connsiteX1" fmla="*/ 130490 w 788258"/>
                  <a:gd name="connsiteY1" fmla="*/ 227766 h 277787"/>
                  <a:gd name="connsiteX2" fmla="*/ 685835 w 788258"/>
                  <a:gd name="connsiteY2" fmla="*/ 224303 h 277787"/>
                  <a:gd name="connsiteX3" fmla="*/ 787692 w 788258"/>
                  <a:gd name="connsiteY3" fmla="*/ 142962 h 277787"/>
                  <a:gd name="connsiteX4" fmla="*/ 584828 w 788258"/>
                  <a:gd name="connsiteY4" fmla="*/ -187 h 277787"/>
                  <a:gd name="connsiteX5" fmla="*/ 228492 w 788258"/>
                  <a:gd name="connsiteY5" fmla="*/ 70963 h 277787"/>
                  <a:gd name="connsiteX6" fmla="*/ 172435 w 788258"/>
                  <a:gd name="connsiteY6" fmla="*/ 67173 h 277787"/>
                  <a:gd name="connsiteX7" fmla="*/ -180 w 788258"/>
                  <a:gd name="connsiteY7" fmla="*/ 162431 h 27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8258" h="277787">
                    <a:moveTo>
                      <a:pt x="-180" y="162431"/>
                    </a:moveTo>
                    <a:cubicBezTo>
                      <a:pt x="45490" y="179699"/>
                      <a:pt x="89277" y="201586"/>
                      <a:pt x="130490" y="227766"/>
                    </a:cubicBezTo>
                    <a:cubicBezTo>
                      <a:pt x="130490" y="227766"/>
                      <a:pt x="349361" y="342167"/>
                      <a:pt x="685835" y="224303"/>
                    </a:cubicBezTo>
                    <a:lnTo>
                      <a:pt x="787692" y="142962"/>
                    </a:lnTo>
                    <a:lnTo>
                      <a:pt x="584828" y="-187"/>
                    </a:lnTo>
                    <a:cubicBezTo>
                      <a:pt x="584828" y="-187"/>
                      <a:pt x="385622" y="88407"/>
                      <a:pt x="228492" y="70963"/>
                    </a:cubicBezTo>
                    <a:cubicBezTo>
                      <a:pt x="209545" y="68937"/>
                      <a:pt x="190729" y="67565"/>
                      <a:pt x="172435" y="67173"/>
                    </a:cubicBezTo>
                    <a:cubicBezTo>
                      <a:pt x="75021" y="64429"/>
                      <a:pt x="-6909" y="85402"/>
                      <a:pt x="-180" y="162431"/>
                    </a:cubicBezTo>
                    <a:close/>
                  </a:path>
                </a:pathLst>
              </a:custGeom>
              <a:solidFill>
                <a:srgbClr val="000000">
                  <a:alpha val="70000"/>
                </a:srgbClr>
              </a:solidFill>
              <a:ln w="6531" cap="flat">
                <a:noFill/>
                <a:prstDash val="solid"/>
                <a:miter/>
              </a:ln>
            </p:spPr>
            <p:txBody>
              <a:bodyPr rtlCol="0" anchor="ctr"/>
              <a:lstStyle/>
              <a:p>
                <a:endParaRPr lang="zh-CN" altLang="en-US"/>
              </a:p>
            </p:txBody>
          </p:sp>
          <p:sp>
            <p:nvSpPr>
              <p:cNvPr id="53" name="ï$ḻîďé"/>
              <p:cNvSpPr/>
              <p:nvPr/>
            </p:nvSpPr>
            <p:spPr>
              <a:xfrm>
                <a:off x="5074390" y="5277058"/>
                <a:ext cx="788038" cy="331508"/>
              </a:xfrm>
              <a:custGeom>
                <a:avLst/>
                <a:gdLst>
                  <a:gd name="connsiteX0" fmla="*/ 787471 w 788038"/>
                  <a:gd name="connsiteY0" fmla="*/ 143027 h 331508"/>
                  <a:gd name="connsiteX1" fmla="*/ 552266 w 788038"/>
                  <a:gd name="connsiteY1" fmla="*/ 331321 h 331508"/>
                  <a:gd name="connsiteX2" fmla="*/ 214420 w 788038"/>
                  <a:gd name="connsiteY2" fmla="*/ 279838 h 331508"/>
                  <a:gd name="connsiteX3" fmla="*/ -8 w 788038"/>
                  <a:gd name="connsiteY3" fmla="*/ 164130 h 331508"/>
                  <a:gd name="connsiteX4" fmla="*/ 172475 w 788038"/>
                  <a:gd name="connsiteY4" fmla="*/ 67043 h 331508"/>
                  <a:gd name="connsiteX5" fmla="*/ 228533 w 788038"/>
                  <a:gd name="connsiteY5" fmla="*/ 70897 h 331508"/>
                  <a:gd name="connsiteX6" fmla="*/ 585130 w 788038"/>
                  <a:gd name="connsiteY6" fmla="*/ -187 h 331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8038" h="331508">
                    <a:moveTo>
                      <a:pt x="787471" y="143027"/>
                    </a:moveTo>
                    <a:lnTo>
                      <a:pt x="552266" y="331321"/>
                    </a:lnTo>
                    <a:cubicBezTo>
                      <a:pt x="438662" y="321456"/>
                      <a:pt x="325809" y="304253"/>
                      <a:pt x="214420" y="279838"/>
                    </a:cubicBezTo>
                    <a:cubicBezTo>
                      <a:pt x="102763" y="253704"/>
                      <a:pt x="5349" y="215875"/>
                      <a:pt x="-8" y="164130"/>
                    </a:cubicBezTo>
                    <a:cubicBezTo>
                      <a:pt x="-8175" y="85728"/>
                      <a:pt x="74408" y="64037"/>
                      <a:pt x="172475" y="67043"/>
                    </a:cubicBezTo>
                    <a:cubicBezTo>
                      <a:pt x="191213" y="67376"/>
                      <a:pt x="209925" y="68663"/>
                      <a:pt x="228533" y="70897"/>
                    </a:cubicBezTo>
                    <a:cubicBezTo>
                      <a:pt x="385336" y="88015"/>
                      <a:pt x="585130" y="-187"/>
                      <a:pt x="585130" y="-187"/>
                    </a:cubicBezTo>
                    <a:close/>
                  </a:path>
                </a:pathLst>
              </a:custGeom>
              <a:noFill/>
              <a:ln w="1633" cap="rnd">
                <a:solidFill>
                  <a:srgbClr val="263238"/>
                </a:solidFill>
                <a:prstDash val="solid"/>
                <a:round/>
              </a:ln>
            </p:spPr>
            <p:txBody>
              <a:bodyPr rtlCol="0" anchor="ctr"/>
              <a:lstStyle/>
              <a:p>
                <a:endParaRPr lang="zh-CN" altLang="en-US"/>
              </a:p>
            </p:txBody>
          </p:sp>
          <p:sp>
            <p:nvSpPr>
              <p:cNvPr id="54" name="iŝ1îḓè"/>
              <p:cNvSpPr/>
              <p:nvPr/>
            </p:nvSpPr>
            <p:spPr>
              <a:xfrm>
                <a:off x="5558099" y="5492110"/>
                <a:ext cx="98585" cy="71635"/>
              </a:xfrm>
              <a:custGeom>
                <a:avLst/>
                <a:gdLst>
                  <a:gd name="connsiteX0" fmla="*/ 81624 w 98585"/>
                  <a:gd name="connsiteY0" fmla="*/ 497 h 71635"/>
                  <a:gd name="connsiteX1" fmla="*/ 20014 w 98585"/>
                  <a:gd name="connsiteY1" fmla="*/ 66419 h 71635"/>
                  <a:gd name="connsiteX2" fmla="*/ 81624 w 98585"/>
                  <a:gd name="connsiteY2" fmla="*/ 497 h 71635"/>
                </a:gdLst>
                <a:ahLst/>
                <a:cxnLst>
                  <a:cxn ang="0">
                    <a:pos x="connsiteX0" y="connsiteY0"/>
                  </a:cxn>
                  <a:cxn ang="0">
                    <a:pos x="connsiteX1" y="connsiteY1"/>
                  </a:cxn>
                  <a:cxn ang="0">
                    <a:pos x="connsiteX2" y="connsiteY2"/>
                  </a:cxn>
                </a:cxnLst>
                <a:rect l="l" t="t" r="r" b="b"/>
                <a:pathLst>
                  <a:path w="98585" h="71635">
                    <a:moveTo>
                      <a:pt x="81624" y="497"/>
                    </a:moveTo>
                    <a:cubicBezTo>
                      <a:pt x="123961" y="7030"/>
                      <a:pt x="77443" y="92815"/>
                      <a:pt x="20014" y="66419"/>
                    </a:cubicBezTo>
                    <a:cubicBezTo>
                      <a:pt x="-37415" y="40024"/>
                      <a:pt x="39157" y="-6363"/>
                      <a:pt x="81624" y="497"/>
                    </a:cubicBezTo>
                    <a:close/>
                  </a:path>
                </a:pathLst>
              </a:custGeom>
              <a:solidFill>
                <a:srgbClr val="FFFFFF"/>
              </a:solidFill>
              <a:ln w="6531" cap="flat">
                <a:noFill/>
                <a:prstDash val="solid"/>
                <a:miter/>
              </a:ln>
            </p:spPr>
            <p:txBody>
              <a:bodyPr rtlCol="0" anchor="ctr"/>
              <a:lstStyle/>
              <a:p>
                <a:endParaRPr lang="zh-CN" altLang="en-US"/>
              </a:p>
            </p:txBody>
          </p:sp>
          <p:sp>
            <p:nvSpPr>
              <p:cNvPr id="55" name="isḷíďè"/>
              <p:cNvSpPr/>
              <p:nvPr/>
            </p:nvSpPr>
            <p:spPr>
              <a:xfrm>
                <a:off x="5558099" y="5492110"/>
                <a:ext cx="98585" cy="71635"/>
              </a:xfrm>
              <a:custGeom>
                <a:avLst/>
                <a:gdLst>
                  <a:gd name="connsiteX0" fmla="*/ 81624 w 98585"/>
                  <a:gd name="connsiteY0" fmla="*/ 497 h 71635"/>
                  <a:gd name="connsiteX1" fmla="*/ 20014 w 98585"/>
                  <a:gd name="connsiteY1" fmla="*/ 66419 h 71635"/>
                  <a:gd name="connsiteX2" fmla="*/ 81624 w 98585"/>
                  <a:gd name="connsiteY2" fmla="*/ 497 h 71635"/>
                </a:gdLst>
                <a:ahLst/>
                <a:cxnLst>
                  <a:cxn ang="0">
                    <a:pos x="connsiteX0" y="connsiteY0"/>
                  </a:cxn>
                  <a:cxn ang="0">
                    <a:pos x="connsiteX1" y="connsiteY1"/>
                  </a:cxn>
                  <a:cxn ang="0">
                    <a:pos x="connsiteX2" y="connsiteY2"/>
                  </a:cxn>
                </a:cxnLst>
                <a:rect l="l" t="t" r="r" b="b"/>
                <a:pathLst>
                  <a:path w="98585" h="71635">
                    <a:moveTo>
                      <a:pt x="81624" y="497"/>
                    </a:moveTo>
                    <a:cubicBezTo>
                      <a:pt x="123961" y="7030"/>
                      <a:pt x="77443" y="92815"/>
                      <a:pt x="20014" y="66419"/>
                    </a:cubicBezTo>
                    <a:cubicBezTo>
                      <a:pt x="-37415" y="40024"/>
                      <a:pt x="39157" y="-6363"/>
                      <a:pt x="81624" y="497"/>
                    </a:cubicBezTo>
                    <a:close/>
                  </a:path>
                </a:pathLst>
              </a:custGeom>
              <a:noFill/>
              <a:ln w="1633" cap="flat">
                <a:solidFill>
                  <a:srgbClr val="000000"/>
                </a:solidFill>
                <a:prstDash val="solid"/>
                <a:miter/>
              </a:ln>
            </p:spPr>
            <p:txBody>
              <a:bodyPr rtlCol="0" anchor="ctr"/>
              <a:lstStyle/>
              <a:p>
                <a:endParaRPr lang="zh-CN" altLang="en-US"/>
              </a:p>
            </p:txBody>
          </p:sp>
          <p:sp>
            <p:nvSpPr>
              <p:cNvPr id="56" name="íşļîďê"/>
              <p:cNvSpPr/>
              <p:nvPr/>
            </p:nvSpPr>
            <p:spPr>
              <a:xfrm>
                <a:off x="5558041" y="5492128"/>
                <a:ext cx="98738" cy="53717"/>
              </a:xfrm>
              <a:custGeom>
                <a:avLst/>
                <a:gdLst>
                  <a:gd name="connsiteX0" fmla="*/ 2039 w 98738"/>
                  <a:gd name="connsiteY0" fmla="*/ 53530 h 53717"/>
                  <a:gd name="connsiteX1" fmla="*/ 93508 w 98738"/>
                  <a:gd name="connsiteY1" fmla="*/ 37654 h 53717"/>
                  <a:gd name="connsiteX2" fmla="*/ 81747 w 98738"/>
                  <a:gd name="connsiteY2" fmla="*/ 479 h 53717"/>
                  <a:gd name="connsiteX3" fmla="*/ 2039 w 98738"/>
                  <a:gd name="connsiteY3" fmla="*/ 53530 h 53717"/>
                </a:gdLst>
                <a:ahLst/>
                <a:cxnLst>
                  <a:cxn ang="0">
                    <a:pos x="connsiteX0" y="connsiteY0"/>
                  </a:cxn>
                  <a:cxn ang="0">
                    <a:pos x="connsiteX1" y="connsiteY1"/>
                  </a:cxn>
                  <a:cxn ang="0">
                    <a:pos x="connsiteX2" y="connsiteY2"/>
                  </a:cxn>
                  <a:cxn ang="0">
                    <a:pos x="connsiteX3" y="connsiteY3"/>
                  </a:cxn>
                </a:cxnLst>
                <a:rect l="l" t="t" r="r" b="b"/>
                <a:pathLst>
                  <a:path w="98738" h="53717">
                    <a:moveTo>
                      <a:pt x="2039" y="53530"/>
                    </a:moveTo>
                    <a:cubicBezTo>
                      <a:pt x="32785" y="49819"/>
                      <a:pt x="63310" y="44520"/>
                      <a:pt x="93508" y="37654"/>
                    </a:cubicBezTo>
                    <a:cubicBezTo>
                      <a:pt x="101609" y="20667"/>
                      <a:pt x="100041" y="3288"/>
                      <a:pt x="81747" y="479"/>
                    </a:cubicBezTo>
                    <a:cubicBezTo>
                      <a:pt x="46075" y="-5271"/>
                      <a:pt x="-13772" y="27396"/>
                      <a:pt x="2039" y="53530"/>
                    </a:cubicBezTo>
                    <a:close/>
                  </a:path>
                </a:pathLst>
              </a:custGeom>
              <a:solidFill>
                <a:srgbClr val="000000">
                  <a:alpha val="70000"/>
                </a:srgbClr>
              </a:solidFill>
              <a:ln w="6531" cap="flat">
                <a:noFill/>
                <a:prstDash val="solid"/>
                <a:miter/>
              </a:ln>
            </p:spPr>
            <p:txBody>
              <a:bodyPr rtlCol="0" anchor="ctr"/>
              <a:lstStyle/>
              <a:p>
                <a:endParaRPr lang="zh-CN" altLang="en-US"/>
              </a:p>
            </p:txBody>
          </p:sp>
          <p:sp>
            <p:nvSpPr>
              <p:cNvPr id="57" name="ïş1ïḍe"/>
              <p:cNvSpPr/>
              <p:nvPr/>
            </p:nvSpPr>
            <p:spPr>
              <a:xfrm>
                <a:off x="5558041" y="5492128"/>
                <a:ext cx="98738" cy="53717"/>
              </a:xfrm>
              <a:custGeom>
                <a:avLst/>
                <a:gdLst>
                  <a:gd name="connsiteX0" fmla="*/ 2039 w 98738"/>
                  <a:gd name="connsiteY0" fmla="*/ 53530 h 53717"/>
                  <a:gd name="connsiteX1" fmla="*/ 93508 w 98738"/>
                  <a:gd name="connsiteY1" fmla="*/ 37654 h 53717"/>
                  <a:gd name="connsiteX2" fmla="*/ 81747 w 98738"/>
                  <a:gd name="connsiteY2" fmla="*/ 479 h 53717"/>
                  <a:gd name="connsiteX3" fmla="*/ 2039 w 98738"/>
                  <a:gd name="connsiteY3" fmla="*/ 53530 h 53717"/>
                </a:gdLst>
                <a:ahLst/>
                <a:cxnLst>
                  <a:cxn ang="0">
                    <a:pos x="connsiteX0" y="connsiteY0"/>
                  </a:cxn>
                  <a:cxn ang="0">
                    <a:pos x="connsiteX1" y="connsiteY1"/>
                  </a:cxn>
                  <a:cxn ang="0">
                    <a:pos x="connsiteX2" y="connsiteY2"/>
                  </a:cxn>
                  <a:cxn ang="0">
                    <a:pos x="connsiteX3" y="connsiteY3"/>
                  </a:cxn>
                </a:cxnLst>
                <a:rect l="l" t="t" r="r" b="b"/>
                <a:pathLst>
                  <a:path w="98738" h="53717">
                    <a:moveTo>
                      <a:pt x="2039" y="53530"/>
                    </a:moveTo>
                    <a:cubicBezTo>
                      <a:pt x="32785" y="49819"/>
                      <a:pt x="63310" y="44520"/>
                      <a:pt x="93508" y="37654"/>
                    </a:cubicBezTo>
                    <a:cubicBezTo>
                      <a:pt x="101609" y="20667"/>
                      <a:pt x="100041" y="3288"/>
                      <a:pt x="81747" y="479"/>
                    </a:cubicBezTo>
                    <a:cubicBezTo>
                      <a:pt x="46075" y="-5271"/>
                      <a:pt x="-13772" y="27396"/>
                      <a:pt x="2039" y="53530"/>
                    </a:cubicBezTo>
                    <a:close/>
                  </a:path>
                </a:pathLst>
              </a:custGeom>
              <a:noFill/>
              <a:ln w="1633" cap="flat">
                <a:solidFill>
                  <a:srgbClr val="000000"/>
                </a:solidFill>
                <a:prstDash val="solid"/>
                <a:miter/>
              </a:ln>
            </p:spPr>
            <p:txBody>
              <a:bodyPr rtlCol="0" anchor="ctr"/>
              <a:lstStyle/>
              <a:p>
                <a:endParaRPr lang="zh-CN" altLang="en-US"/>
              </a:p>
            </p:txBody>
          </p:sp>
          <p:sp>
            <p:nvSpPr>
              <p:cNvPr id="58" name="íşḻiḍé"/>
              <p:cNvSpPr/>
              <p:nvPr/>
            </p:nvSpPr>
            <p:spPr>
              <a:xfrm>
                <a:off x="5558099" y="5492110"/>
                <a:ext cx="98585" cy="71635"/>
              </a:xfrm>
              <a:custGeom>
                <a:avLst/>
                <a:gdLst>
                  <a:gd name="connsiteX0" fmla="*/ 81624 w 98585"/>
                  <a:gd name="connsiteY0" fmla="*/ 497 h 71635"/>
                  <a:gd name="connsiteX1" fmla="*/ 20014 w 98585"/>
                  <a:gd name="connsiteY1" fmla="*/ 66419 h 71635"/>
                  <a:gd name="connsiteX2" fmla="*/ 81624 w 98585"/>
                  <a:gd name="connsiteY2" fmla="*/ 497 h 71635"/>
                </a:gdLst>
                <a:ahLst/>
                <a:cxnLst>
                  <a:cxn ang="0">
                    <a:pos x="connsiteX0" y="connsiteY0"/>
                  </a:cxn>
                  <a:cxn ang="0">
                    <a:pos x="connsiteX1" y="connsiteY1"/>
                  </a:cxn>
                  <a:cxn ang="0">
                    <a:pos x="connsiteX2" y="connsiteY2"/>
                  </a:cxn>
                </a:cxnLst>
                <a:rect l="l" t="t" r="r" b="b"/>
                <a:pathLst>
                  <a:path w="98585" h="71635">
                    <a:moveTo>
                      <a:pt x="81624" y="497"/>
                    </a:moveTo>
                    <a:cubicBezTo>
                      <a:pt x="123961" y="7030"/>
                      <a:pt x="77443" y="92815"/>
                      <a:pt x="20014" y="66419"/>
                    </a:cubicBezTo>
                    <a:cubicBezTo>
                      <a:pt x="-37415" y="40024"/>
                      <a:pt x="39157" y="-6363"/>
                      <a:pt x="81624" y="497"/>
                    </a:cubicBezTo>
                    <a:close/>
                  </a:path>
                </a:pathLst>
              </a:custGeom>
              <a:noFill/>
              <a:ln w="1633" cap="rnd">
                <a:solidFill>
                  <a:srgbClr val="263238"/>
                </a:solidFill>
                <a:prstDash val="solid"/>
                <a:round/>
              </a:ln>
            </p:spPr>
            <p:txBody>
              <a:bodyPr rtlCol="0" anchor="ctr"/>
              <a:lstStyle/>
              <a:p>
                <a:endParaRPr lang="zh-CN" altLang="en-US"/>
              </a:p>
            </p:txBody>
          </p:sp>
          <p:sp>
            <p:nvSpPr>
              <p:cNvPr id="59" name="ïŝḻîḑe"/>
              <p:cNvSpPr/>
              <p:nvPr/>
            </p:nvSpPr>
            <p:spPr>
              <a:xfrm>
                <a:off x="5074194" y="5348726"/>
                <a:ext cx="233046" cy="206070"/>
              </a:xfrm>
              <a:custGeom>
                <a:avLst/>
                <a:gdLst>
                  <a:gd name="connsiteX0" fmla="*/ 214094 w 233046"/>
                  <a:gd name="connsiteY0" fmla="*/ 205883 h 206070"/>
                  <a:gd name="connsiteX1" fmla="*/ -8 w 233046"/>
                  <a:gd name="connsiteY1" fmla="*/ 93965 h 206070"/>
                  <a:gd name="connsiteX2" fmla="*/ 172149 w 233046"/>
                  <a:gd name="connsiteY2" fmla="*/ 79 h 206070"/>
                  <a:gd name="connsiteX3" fmla="*/ 214094 w 233046"/>
                  <a:gd name="connsiteY3" fmla="*/ 205883 h 206070"/>
                </a:gdLst>
                <a:ahLst/>
                <a:cxnLst>
                  <a:cxn ang="0">
                    <a:pos x="connsiteX0" y="connsiteY0"/>
                  </a:cxn>
                  <a:cxn ang="0">
                    <a:pos x="connsiteX1" y="connsiteY1"/>
                  </a:cxn>
                  <a:cxn ang="0">
                    <a:pos x="connsiteX2" y="connsiteY2"/>
                  </a:cxn>
                  <a:cxn ang="0">
                    <a:pos x="connsiteX3" y="connsiteY3"/>
                  </a:cxn>
                </a:cxnLst>
                <a:rect l="l" t="t" r="r" b="b"/>
                <a:pathLst>
                  <a:path w="233046" h="206070">
                    <a:moveTo>
                      <a:pt x="214094" y="205883"/>
                    </a:moveTo>
                    <a:cubicBezTo>
                      <a:pt x="102633" y="180468"/>
                      <a:pt x="5023" y="144076"/>
                      <a:pt x="-8" y="93965"/>
                    </a:cubicBezTo>
                    <a:cubicBezTo>
                      <a:pt x="-8174" y="17980"/>
                      <a:pt x="74278" y="-2862"/>
                      <a:pt x="172149" y="79"/>
                    </a:cubicBezTo>
                    <a:cubicBezTo>
                      <a:pt x="176462" y="4195"/>
                      <a:pt x="271524" y="94618"/>
                      <a:pt x="214094" y="205883"/>
                    </a:cubicBezTo>
                    <a:close/>
                  </a:path>
                </a:pathLst>
              </a:custGeom>
              <a:solidFill>
                <a:srgbClr val="FFFFFF"/>
              </a:solidFill>
              <a:ln w="6531" cap="flat">
                <a:noFill/>
                <a:prstDash val="solid"/>
                <a:miter/>
              </a:ln>
            </p:spPr>
            <p:txBody>
              <a:bodyPr rtlCol="0" anchor="ctr"/>
              <a:lstStyle/>
              <a:p>
                <a:endParaRPr lang="zh-CN" altLang="en-US"/>
              </a:p>
            </p:txBody>
          </p:sp>
          <p:sp>
            <p:nvSpPr>
              <p:cNvPr id="60" name="íṣliḓe"/>
              <p:cNvSpPr/>
              <p:nvPr/>
            </p:nvSpPr>
            <p:spPr>
              <a:xfrm>
                <a:off x="5074194" y="5348726"/>
                <a:ext cx="233046" cy="206070"/>
              </a:xfrm>
              <a:custGeom>
                <a:avLst/>
                <a:gdLst>
                  <a:gd name="connsiteX0" fmla="*/ 214094 w 233046"/>
                  <a:gd name="connsiteY0" fmla="*/ 205883 h 206070"/>
                  <a:gd name="connsiteX1" fmla="*/ -8 w 233046"/>
                  <a:gd name="connsiteY1" fmla="*/ 93965 h 206070"/>
                  <a:gd name="connsiteX2" fmla="*/ 172149 w 233046"/>
                  <a:gd name="connsiteY2" fmla="*/ 79 h 206070"/>
                  <a:gd name="connsiteX3" fmla="*/ 214094 w 233046"/>
                  <a:gd name="connsiteY3" fmla="*/ 205883 h 206070"/>
                </a:gdLst>
                <a:ahLst/>
                <a:cxnLst>
                  <a:cxn ang="0">
                    <a:pos x="connsiteX0" y="connsiteY0"/>
                  </a:cxn>
                  <a:cxn ang="0">
                    <a:pos x="connsiteX1" y="connsiteY1"/>
                  </a:cxn>
                  <a:cxn ang="0">
                    <a:pos x="connsiteX2" y="connsiteY2"/>
                  </a:cxn>
                  <a:cxn ang="0">
                    <a:pos x="connsiteX3" y="connsiteY3"/>
                  </a:cxn>
                </a:cxnLst>
                <a:rect l="l" t="t" r="r" b="b"/>
                <a:pathLst>
                  <a:path w="233046" h="206070">
                    <a:moveTo>
                      <a:pt x="214094" y="205883"/>
                    </a:moveTo>
                    <a:cubicBezTo>
                      <a:pt x="102633" y="180468"/>
                      <a:pt x="5023" y="144076"/>
                      <a:pt x="-8" y="93965"/>
                    </a:cubicBezTo>
                    <a:cubicBezTo>
                      <a:pt x="-8174" y="17980"/>
                      <a:pt x="74278" y="-2862"/>
                      <a:pt x="172149" y="79"/>
                    </a:cubicBezTo>
                    <a:cubicBezTo>
                      <a:pt x="176462" y="4195"/>
                      <a:pt x="271524" y="94618"/>
                      <a:pt x="214094" y="205883"/>
                    </a:cubicBezTo>
                    <a:close/>
                  </a:path>
                </a:pathLst>
              </a:custGeom>
              <a:noFill/>
              <a:ln w="1633" cap="flat">
                <a:solidFill>
                  <a:srgbClr val="000000"/>
                </a:solidFill>
                <a:prstDash val="solid"/>
                <a:miter/>
              </a:ln>
            </p:spPr>
            <p:txBody>
              <a:bodyPr rtlCol="0" anchor="ctr"/>
              <a:lstStyle/>
              <a:p>
                <a:endParaRPr lang="zh-CN" altLang="en-US"/>
              </a:p>
            </p:txBody>
          </p:sp>
          <p:sp>
            <p:nvSpPr>
              <p:cNvPr id="61" name="íś1íḍé"/>
              <p:cNvSpPr/>
              <p:nvPr/>
            </p:nvSpPr>
            <p:spPr>
              <a:xfrm>
                <a:off x="5074234" y="5348723"/>
                <a:ext cx="232752" cy="188171"/>
              </a:xfrm>
              <a:custGeom>
                <a:avLst/>
                <a:gdLst>
                  <a:gd name="connsiteX0" fmla="*/ -179 w 232752"/>
                  <a:gd name="connsiteY0" fmla="*/ 93183 h 188171"/>
                  <a:gd name="connsiteX1" fmla="*/ 130490 w 232752"/>
                  <a:gd name="connsiteY1" fmla="*/ 157342 h 188171"/>
                  <a:gd name="connsiteX2" fmla="*/ 222547 w 232752"/>
                  <a:gd name="connsiteY2" fmla="*/ 187984 h 188171"/>
                  <a:gd name="connsiteX3" fmla="*/ 171978 w 232752"/>
                  <a:gd name="connsiteY3" fmla="*/ 81 h 188171"/>
                  <a:gd name="connsiteX4" fmla="*/ -179 w 232752"/>
                  <a:gd name="connsiteY4" fmla="*/ 93183 h 18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752" h="188171">
                    <a:moveTo>
                      <a:pt x="-179" y="93183"/>
                    </a:moveTo>
                    <a:cubicBezTo>
                      <a:pt x="45425" y="110118"/>
                      <a:pt x="89206" y="131613"/>
                      <a:pt x="130490" y="157342"/>
                    </a:cubicBezTo>
                    <a:cubicBezTo>
                      <a:pt x="159950" y="170925"/>
                      <a:pt x="190821" y="181202"/>
                      <a:pt x="222547" y="187984"/>
                    </a:cubicBezTo>
                    <a:cubicBezTo>
                      <a:pt x="260115" y="85017"/>
                      <a:pt x="176029" y="3936"/>
                      <a:pt x="171978" y="81"/>
                    </a:cubicBezTo>
                    <a:cubicBezTo>
                      <a:pt x="74891" y="-2859"/>
                      <a:pt x="-6908" y="17722"/>
                      <a:pt x="-179" y="93183"/>
                    </a:cubicBezTo>
                    <a:close/>
                  </a:path>
                </a:pathLst>
              </a:custGeom>
              <a:solidFill>
                <a:srgbClr val="000000">
                  <a:alpha val="70000"/>
                </a:srgbClr>
              </a:solidFill>
              <a:ln w="6531" cap="flat">
                <a:noFill/>
                <a:prstDash val="solid"/>
                <a:miter/>
              </a:ln>
            </p:spPr>
            <p:txBody>
              <a:bodyPr rtlCol="0" anchor="ctr"/>
              <a:lstStyle/>
              <a:p>
                <a:endParaRPr lang="zh-CN" altLang="en-US"/>
              </a:p>
            </p:txBody>
          </p:sp>
          <p:sp>
            <p:nvSpPr>
              <p:cNvPr id="62" name="i$lïḑê"/>
              <p:cNvSpPr/>
              <p:nvPr/>
            </p:nvSpPr>
            <p:spPr>
              <a:xfrm>
                <a:off x="5074234" y="5348723"/>
                <a:ext cx="232752" cy="188171"/>
              </a:xfrm>
              <a:custGeom>
                <a:avLst/>
                <a:gdLst>
                  <a:gd name="connsiteX0" fmla="*/ -179 w 232752"/>
                  <a:gd name="connsiteY0" fmla="*/ 93183 h 188171"/>
                  <a:gd name="connsiteX1" fmla="*/ 130490 w 232752"/>
                  <a:gd name="connsiteY1" fmla="*/ 157342 h 188171"/>
                  <a:gd name="connsiteX2" fmla="*/ 222547 w 232752"/>
                  <a:gd name="connsiteY2" fmla="*/ 187984 h 188171"/>
                  <a:gd name="connsiteX3" fmla="*/ 171978 w 232752"/>
                  <a:gd name="connsiteY3" fmla="*/ 81 h 188171"/>
                  <a:gd name="connsiteX4" fmla="*/ -179 w 232752"/>
                  <a:gd name="connsiteY4" fmla="*/ 93183 h 188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752" h="188171">
                    <a:moveTo>
                      <a:pt x="-179" y="93183"/>
                    </a:moveTo>
                    <a:cubicBezTo>
                      <a:pt x="45425" y="110118"/>
                      <a:pt x="89206" y="131613"/>
                      <a:pt x="130490" y="157342"/>
                    </a:cubicBezTo>
                    <a:cubicBezTo>
                      <a:pt x="159950" y="170925"/>
                      <a:pt x="190821" y="181202"/>
                      <a:pt x="222547" y="187984"/>
                    </a:cubicBezTo>
                    <a:cubicBezTo>
                      <a:pt x="260115" y="85017"/>
                      <a:pt x="176029" y="3936"/>
                      <a:pt x="171978" y="81"/>
                    </a:cubicBezTo>
                    <a:cubicBezTo>
                      <a:pt x="74891" y="-2859"/>
                      <a:pt x="-6908" y="17722"/>
                      <a:pt x="-179" y="93183"/>
                    </a:cubicBezTo>
                    <a:close/>
                  </a:path>
                </a:pathLst>
              </a:custGeom>
              <a:noFill/>
              <a:ln w="1633" cap="flat">
                <a:solidFill>
                  <a:srgbClr val="000000"/>
                </a:solidFill>
                <a:prstDash val="solid"/>
                <a:miter/>
              </a:ln>
            </p:spPr>
            <p:txBody>
              <a:bodyPr rtlCol="0" anchor="ctr"/>
              <a:lstStyle/>
              <a:p>
                <a:endParaRPr lang="zh-CN" altLang="en-US"/>
              </a:p>
            </p:txBody>
          </p:sp>
          <p:sp>
            <p:nvSpPr>
              <p:cNvPr id="63" name="í$ľïḍê"/>
              <p:cNvSpPr/>
              <p:nvPr/>
            </p:nvSpPr>
            <p:spPr>
              <a:xfrm>
                <a:off x="5074194" y="5348726"/>
                <a:ext cx="233046" cy="206070"/>
              </a:xfrm>
              <a:custGeom>
                <a:avLst/>
                <a:gdLst>
                  <a:gd name="connsiteX0" fmla="*/ 214094 w 233046"/>
                  <a:gd name="connsiteY0" fmla="*/ 205883 h 206070"/>
                  <a:gd name="connsiteX1" fmla="*/ -8 w 233046"/>
                  <a:gd name="connsiteY1" fmla="*/ 93965 h 206070"/>
                  <a:gd name="connsiteX2" fmla="*/ 172149 w 233046"/>
                  <a:gd name="connsiteY2" fmla="*/ 79 h 206070"/>
                  <a:gd name="connsiteX3" fmla="*/ 214094 w 233046"/>
                  <a:gd name="connsiteY3" fmla="*/ 205883 h 206070"/>
                </a:gdLst>
                <a:ahLst/>
                <a:cxnLst>
                  <a:cxn ang="0">
                    <a:pos x="connsiteX0" y="connsiteY0"/>
                  </a:cxn>
                  <a:cxn ang="0">
                    <a:pos x="connsiteX1" y="connsiteY1"/>
                  </a:cxn>
                  <a:cxn ang="0">
                    <a:pos x="connsiteX2" y="connsiteY2"/>
                  </a:cxn>
                  <a:cxn ang="0">
                    <a:pos x="connsiteX3" y="connsiteY3"/>
                  </a:cxn>
                </a:cxnLst>
                <a:rect l="l" t="t" r="r" b="b"/>
                <a:pathLst>
                  <a:path w="233046" h="206070">
                    <a:moveTo>
                      <a:pt x="214094" y="205883"/>
                    </a:moveTo>
                    <a:cubicBezTo>
                      <a:pt x="102633" y="180468"/>
                      <a:pt x="5023" y="144076"/>
                      <a:pt x="-8" y="93965"/>
                    </a:cubicBezTo>
                    <a:cubicBezTo>
                      <a:pt x="-8174" y="17980"/>
                      <a:pt x="74278" y="-2862"/>
                      <a:pt x="172149" y="79"/>
                    </a:cubicBezTo>
                    <a:cubicBezTo>
                      <a:pt x="176462" y="4195"/>
                      <a:pt x="271524" y="94618"/>
                      <a:pt x="214094" y="205883"/>
                    </a:cubicBezTo>
                    <a:close/>
                  </a:path>
                </a:pathLst>
              </a:custGeom>
              <a:noFill/>
              <a:ln w="1633" cap="rnd">
                <a:solidFill>
                  <a:srgbClr val="263238"/>
                </a:solidFill>
                <a:prstDash val="solid"/>
                <a:round/>
              </a:ln>
            </p:spPr>
            <p:txBody>
              <a:bodyPr rtlCol="0" anchor="ctr"/>
              <a:lstStyle/>
              <a:p>
                <a:endParaRPr lang="zh-CN" altLang="en-US"/>
              </a:p>
            </p:txBody>
          </p:sp>
          <p:sp>
            <p:nvSpPr>
              <p:cNvPr id="64" name="ísḷíḑe"/>
              <p:cNvSpPr/>
              <p:nvPr/>
            </p:nvSpPr>
            <p:spPr>
              <a:xfrm>
                <a:off x="5307216" y="5339949"/>
                <a:ext cx="71612" cy="116367"/>
              </a:xfrm>
              <a:custGeom>
                <a:avLst/>
                <a:gdLst>
                  <a:gd name="connsiteX0" fmla="*/ 60323 w 71612"/>
                  <a:gd name="connsiteY0" fmla="*/ 116135 h 116367"/>
                  <a:gd name="connsiteX1" fmla="*/ 59604 w 71612"/>
                  <a:gd name="connsiteY1" fmla="*/ 116135 h 116367"/>
                  <a:gd name="connsiteX2" fmla="*/ 46537 w 71612"/>
                  <a:gd name="connsiteY2" fmla="*/ 105355 h 116367"/>
                  <a:gd name="connsiteX3" fmla="*/ 46537 w 71612"/>
                  <a:gd name="connsiteY3" fmla="*/ 105355 h 116367"/>
                  <a:gd name="connsiteX4" fmla="*/ 3089 w 71612"/>
                  <a:gd name="connsiteY4" fmla="*/ 19048 h 116367"/>
                  <a:gd name="connsiteX5" fmla="*/ 1985 w 71612"/>
                  <a:gd name="connsiteY5" fmla="*/ 4210 h 116367"/>
                  <a:gd name="connsiteX6" fmla="*/ 3089 w 71612"/>
                  <a:gd name="connsiteY6" fmla="*/ 3106 h 116367"/>
                  <a:gd name="connsiteX7" fmla="*/ 3089 w 71612"/>
                  <a:gd name="connsiteY7" fmla="*/ 3106 h 116367"/>
                  <a:gd name="connsiteX8" fmla="*/ 20730 w 71612"/>
                  <a:gd name="connsiteY8" fmla="*/ 3106 h 116367"/>
                  <a:gd name="connsiteX9" fmla="*/ 71037 w 71612"/>
                  <a:gd name="connsiteY9" fmla="*/ 104114 h 116367"/>
                  <a:gd name="connsiteX10" fmla="*/ 60323 w 71612"/>
                  <a:gd name="connsiteY10" fmla="*/ 116135 h 116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1612" h="116367">
                    <a:moveTo>
                      <a:pt x="60323" y="116135"/>
                    </a:moveTo>
                    <a:lnTo>
                      <a:pt x="59604" y="116135"/>
                    </a:lnTo>
                    <a:cubicBezTo>
                      <a:pt x="53038" y="116704"/>
                      <a:pt x="47223" y="111908"/>
                      <a:pt x="46537" y="105355"/>
                    </a:cubicBezTo>
                    <a:lnTo>
                      <a:pt x="46537" y="105355"/>
                    </a:lnTo>
                    <a:cubicBezTo>
                      <a:pt x="42107" y="72537"/>
                      <a:pt x="26806" y="42156"/>
                      <a:pt x="3089" y="19048"/>
                    </a:cubicBezTo>
                    <a:cubicBezTo>
                      <a:pt x="-1314" y="15258"/>
                      <a:pt x="-1811" y="8614"/>
                      <a:pt x="1985" y="4210"/>
                    </a:cubicBezTo>
                    <a:cubicBezTo>
                      <a:pt x="2325" y="3818"/>
                      <a:pt x="2691" y="3446"/>
                      <a:pt x="3089" y="3106"/>
                    </a:cubicBezTo>
                    <a:lnTo>
                      <a:pt x="3089" y="3106"/>
                    </a:lnTo>
                    <a:cubicBezTo>
                      <a:pt x="8153" y="-1285"/>
                      <a:pt x="15666" y="-1285"/>
                      <a:pt x="20730" y="3106"/>
                    </a:cubicBezTo>
                    <a:cubicBezTo>
                      <a:pt x="48654" y="29958"/>
                      <a:pt x="66425" y="65644"/>
                      <a:pt x="71037" y="104114"/>
                    </a:cubicBezTo>
                    <a:cubicBezTo>
                      <a:pt x="71266" y="110346"/>
                      <a:pt x="66542" y="115652"/>
                      <a:pt x="60323" y="116135"/>
                    </a:cubicBezTo>
                    <a:close/>
                  </a:path>
                </a:pathLst>
              </a:custGeom>
              <a:solidFill>
                <a:srgbClr val="FFFFFF"/>
              </a:solidFill>
              <a:ln w="6531" cap="flat">
                <a:noFill/>
                <a:prstDash val="solid"/>
                <a:miter/>
              </a:ln>
            </p:spPr>
            <p:txBody>
              <a:bodyPr rtlCol="0" anchor="ctr"/>
              <a:lstStyle/>
              <a:p>
                <a:endParaRPr lang="zh-CN" altLang="en-US"/>
              </a:p>
            </p:txBody>
          </p:sp>
          <p:sp>
            <p:nvSpPr>
              <p:cNvPr id="65" name="íŝlíḋè"/>
              <p:cNvSpPr/>
              <p:nvPr/>
            </p:nvSpPr>
            <p:spPr>
              <a:xfrm>
                <a:off x="5307216" y="5339949"/>
                <a:ext cx="71612" cy="116367"/>
              </a:xfrm>
              <a:custGeom>
                <a:avLst/>
                <a:gdLst>
                  <a:gd name="connsiteX0" fmla="*/ 60323 w 71612"/>
                  <a:gd name="connsiteY0" fmla="*/ 116135 h 116367"/>
                  <a:gd name="connsiteX1" fmla="*/ 59604 w 71612"/>
                  <a:gd name="connsiteY1" fmla="*/ 116135 h 116367"/>
                  <a:gd name="connsiteX2" fmla="*/ 46537 w 71612"/>
                  <a:gd name="connsiteY2" fmla="*/ 105355 h 116367"/>
                  <a:gd name="connsiteX3" fmla="*/ 46537 w 71612"/>
                  <a:gd name="connsiteY3" fmla="*/ 105355 h 116367"/>
                  <a:gd name="connsiteX4" fmla="*/ 3089 w 71612"/>
                  <a:gd name="connsiteY4" fmla="*/ 19048 h 116367"/>
                  <a:gd name="connsiteX5" fmla="*/ 1985 w 71612"/>
                  <a:gd name="connsiteY5" fmla="*/ 4210 h 116367"/>
                  <a:gd name="connsiteX6" fmla="*/ 3089 w 71612"/>
                  <a:gd name="connsiteY6" fmla="*/ 3106 h 116367"/>
                  <a:gd name="connsiteX7" fmla="*/ 3089 w 71612"/>
                  <a:gd name="connsiteY7" fmla="*/ 3106 h 116367"/>
                  <a:gd name="connsiteX8" fmla="*/ 20730 w 71612"/>
                  <a:gd name="connsiteY8" fmla="*/ 3106 h 116367"/>
                  <a:gd name="connsiteX9" fmla="*/ 71037 w 71612"/>
                  <a:gd name="connsiteY9" fmla="*/ 104114 h 116367"/>
                  <a:gd name="connsiteX10" fmla="*/ 60323 w 71612"/>
                  <a:gd name="connsiteY10" fmla="*/ 116135 h 116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1612" h="116367">
                    <a:moveTo>
                      <a:pt x="60323" y="116135"/>
                    </a:moveTo>
                    <a:lnTo>
                      <a:pt x="59604" y="116135"/>
                    </a:lnTo>
                    <a:cubicBezTo>
                      <a:pt x="53038" y="116704"/>
                      <a:pt x="47223" y="111908"/>
                      <a:pt x="46537" y="105355"/>
                    </a:cubicBezTo>
                    <a:lnTo>
                      <a:pt x="46537" y="105355"/>
                    </a:lnTo>
                    <a:cubicBezTo>
                      <a:pt x="42107" y="72537"/>
                      <a:pt x="26806" y="42156"/>
                      <a:pt x="3089" y="19048"/>
                    </a:cubicBezTo>
                    <a:cubicBezTo>
                      <a:pt x="-1314" y="15258"/>
                      <a:pt x="-1811" y="8614"/>
                      <a:pt x="1985" y="4210"/>
                    </a:cubicBezTo>
                    <a:cubicBezTo>
                      <a:pt x="2325" y="3818"/>
                      <a:pt x="2691" y="3446"/>
                      <a:pt x="3089" y="3106"/>
                    </a:cubicBezTo>
                    <a:lnTo>
                      <a:pt x="3089" y="3106"/>
                    </a:lnTo>
                    <a:cubicBezTo>
                      <a:pt x="8153" y="-1285"/>
                      <a:pt x="15666" y="-1285"/>
                      <a:pt x="20730" y="3106"/>
                    </a:cubicBezTo>
                    <a:cubicBezTo>
                      <a:pt x="48654" y="29958"/>
                      <a:pt x="66425" y="65644"/>
                      <a:pt x="71037" y="104114"/>
                    </a:cubicBezTo>
                    <a:cubicBezTo>
                      <a:pt x="71266" y="110346"/>
                      <a:pt x="66542" y="115652"/>
                      <a:pt x="60323" y="116135"/>
                    </a:cubicBezTo>
                    <a:close/>
                  </a:path>
                </a:pathLst>
              </a:custGeom>
              <a:noFill/>
              <a:ln w="1633" cap="rnd">
                <a:solidFill>
                  <a:srgbClr val="263238"/>
                </a:solidFill>
                <a:prstDash val="solid"/>
                <a:round/>
              </a:ln>
            </p:spPr>
            <p:txBody>
              <a:bodyPr rtlCol="0" anchor="ctr"/>
              <a:lstStyle/>
              <a:p>
                <a:endParaRPr lang="zh-CN" altLang="en-US"/>
              </a:p>
            </p:txBody>
          </p:sp>
          <p:sp>
            <p:nvSpPr>
              <p:cNvPr id="66" name="îṧlïḍe"/>
              <p:cNvSpPr/>
              <p:nvPr/>
            </p:nvSpPr>
            <p:spPr>
              <a:xfrm>
                <a:off x="5360806" y="5339800"/>
                <a:ext cx="62588" cy="125424"/>
              </a:xfrm>
              <a:custGeom>
                <a:avLst/>
                <a:gdLst>
                  <a:gd name="connsiteX0" fmla="*/ 51748 w 62588"/>
                  <a:gd name="connsiteY0" fmla="*/ 125236 h 125424"/>
                  <a:gd name="connsiteX1" fmla="*/ 50769 w 62588"/>
                  <a:gd name="connsiteY1" fmla="*/ 125236 h 125424"/>
                  <a:gd name="connsiteX2" fmla="*/ 38878 w 62588"/>
                  <a:gd name="connsiteY2" fmla="*/ 113737 h 125424"/>
                  <a:gd name="connsiteX3" fmla="*/ 38878 w 62588"/>
                  <a:gd name="connsiteY3" fmla="*/ 113737 h 125424"/>
                  <a:gd name="connsiteX4" fmla="*/ 38878 w 62588"/>
                  <a:gd name="connsiteY4" fmla="*/ 113737 h 125424"/>
                  <a:gd name="connsiteX5" fmla="*/ 2878 w 62588"/>
                  <a:gd name="connsiteY5" fmla="*/ 20112 h 125424"/>
                  <a:gd name="connsiteX6" fmla="*/ 2878 w 62588"/>
                  <a:gd name="connsiteY6" fmla="*/ 3321 h 125424"/>
                  <a:gd name="connsiteX7" fmla="*/ 19231 w 62588"/>
                  <a:gd name="connsiteY7" fmla="*/ 3079 h 125424"/>
                  <a:gd name="connsiteX8" fmla="*/ 19473 w 62588"/>
                  <a:gd name="connsiteY8" fmla="*/ 3321 h 125424"/>
                  <a:gd name="connsiteX9" fmla="*/ 20780 w 62588"/>
                  <a:gd name="connsiteY9" fmla="*/ 4889 h 125424"/>
                  <a:gd name="connsiteX10" fmla="*/ 62006 w 62588"/>
                  <a:gd name="connsiteY10" fmla="*/ 113018 h 125424"/>
                  <a:gd name="connsiteX11" fmla="*/ 51748 w 62588"/>
                  <a:gd name="connsiteY11" fmla="*/ 125236 h 125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588" h="125424">
                    <a:moveTo>
                      <a:pt x="51748" y="125236"/>
                    </a:moveTo>
                    <a:lnTo>
                      <a:pt x="50769" y="125236"/>
                    </a:lnTo>
                    <a:cubicBezTo>
                      <a:pt x="44313" y="125347"/>
                      <a:pt x="38988" y="120198"/>
                      <a:pt x="38878" y="113737"/>
                    </a:cubicBezTo>
                    <a:cubicBezTo>
                      <a:pt x="38878" y="113737"/>
                      <a:pt x="38878" y="113737"/>
                      <a:pt x="38878" y="113737"/>
                    </a:cubicBezTo>
                    <a:lnTo>
                      <a:pt x="38878" y="113737"/>
                    </a:lnTo>
                    <a:cubicBezTo>
                      <a:pt x="36238" y="79691"/>
                      <a:pt x="23726" y="47154"/>
                      <a:pt x="2878" y="20112"/>
                    </a:cubicBezTo>
                    <a:cubicBezTo>
                      <a:pt x="-1715" y="15454"/>
                      <a:pt x="-1715" y="7980"/>
                      <a:pt x="2878" y="3321"/>
                    </a:cubicBezTo>
                    <a:cubicBezTo>
                      <a:pt x="7328" y="-1259"/>
                      <a:pt x="14645" y="-1370"/>
                      <a:pt x="19231" y="3079"/>
                    </a:cubicBezTo>
                    <a:cubicBezTo>
                      <a:pt x="19310" y="3158"/>
                      <a:pt x="19395" y="3236"/>
                      <a:pt x="19473" y="3321"/>
                    </a:cubicBezTo>
                    <a:cubicBezTo>
                      <a:pt x="19957" y="3798"/>
                      <a:pt x="20394" y="4327"/>
                      <a:pt x="20780" y="4889"/>
                    </a:cubicBezTo>
                    <a:cubicBezTo>
                      <a:pt x="44934" y="36047"/>
                      <a:pt x="59288" y="73687"/>
                      <a:pt x="62006" y="113018"/>
                    </a:cubicBezTo>
                    <a:cubicBezTo>
                      <a:pt x="62326" y="119153"/>
                      <a:pt x="57844" y="124491"/>
                      <a:pt x="51748" y="125236"/>
                    </a:cubicBezTo>
                    <a:close/>
                  </a:path>
                </a:pathLst>
              </a:custGeom>
              <a:solidFill>
                <a:srgbClr val="FFFFFF"/>
              </a:solidFill>
              <a:ln w="6531" cap="flat">
                <a:noFill/>
                <a:prstDash val="solid"/>
                <a:miter/>
              </a:ln>
            </p:spPr>
            <p:txBody>
              <a:bodyPr rtlCol="0" anchor="ctr"/>
              <a:lstStyle/>
              <a:p>
                <a:endParaRPr lang="zh-CN" altLang="en-US"/>
              </a:p>
            </p:txBody>
          </p:sp>
          <p:sp>
            <p:nvSpPr>
              <p:cNvPr id="67" name="işļíde"/>
              <p:cNvSpPr/>
              <p:nvPr/>
            </p:nvSpPr>
            <p:spPr>
              <a:xfrm>
                <a:off x="5360806" y="5339800"/>
                <a:ext cx="62588" cy="125424"/>
              </a:xfrm>
              <a:custGeom>
                <a:avLst/>
                <a:gdLst>
                  <a:gd name="connsiteX0" fmla="*/ 51748 w 62588"/>
                  <a:gd name="connsiteY0" fmla="*/ 125236 h 125424"/>
                  <a:gd name="connsiteX1" fmla="*/ 50769 w 62588"/>
                  <a:gd name="connsiteY1" fmla="*/ 125236 h 125424"/>
                  <a:gd name="connsiteX2" fmla="*/ 38878 w 62588"/>
                  <a:gd name="connsiteY2" fmla="*/ 113737 h 125424"/>
                  <a:gd name="connsiteX3" fmla="*/ 38878 w 62588"/>
                  <a:gd name="connsiteY3" fmla="*/ 113737 h 125424"/>
                  <a:gd name="connsiteX4" fmla="*/ 38878 w 62588"/>
                  <a:gd name="connsiteY4" fmla="*/ 113737 h 125424"/>
                  <a:gd name="connsiteX5" fmla="*/ 2878 w 62588"/>
                  <a:gd name="connsiteY5" fmla="*/ 20112 h 125424"/>
                  <a:gd name="connsiteX6" fmla="*/ 2878 w 62588"/>
                  <a:gd name="connsiteY6" fmla="*/ 3321 h 125424"/>
                  <a:gd name="connsiteX7" fmla="*/ 19231 w 62588"/>
                  <a:gd name="connsiteY7" fmla="*/ 3079 h 125424"/>
                  <a:gd name="connsiteX8" fmla="*/ 19473 w 62588"/>
                  <a:gd name="connsiteY8" fmla="*/ 3321 h 125424"/>
                  <a:gd name="connsiteX9" fmla="*/ 20780 w 62588"/>
                  <a:gd name="connsiteY9" fmla="*/ 4889 h 125424"/>
                  <a:gd name="connsiteX10" fmla="*/ 62006 w 62588"/>
                  <a:gd name="connsiteY10" fmla="*/ 113018 h 125424"/>
                  <a:gd name="connsiteX11" fmla="*/ 51748 w 62588"/>
                  <a:gd name="connsiteY11" fmla="*/ 125236 h 125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588" h="125424">
                    <a:moveTo>
                      <a:pt x="51748" y="125236"/>
                    </a:moveTo>
                    <a:lnTo>
                      <a:pt x="50769" y="125236"/>
                    </a:lnTo>
                    <a:cubicBezTo>
                      <a:pt x="44313" y="125347"/>
                      <a:pt x="38988" y="120198"/>
                      <a:pt x="38878" y="113737"/>
                    </a:cubicBezTo>
                    <a:cubicBezTo>
                      <a:pt x="38878" y="113737"/>
                      <a:pt x="38878" y="113737"/>
                      <a:pt x="38878" y="113737"/>
                    </a:cubicBezTo>
                    <a:lnTo>
                      <a:pt x="38878" y="113737"/>
                    </a:lnTo>
                    <a:cubicBezTo>
                      <a:pt x="36238" y="79691"/>
                      <a:pt x="23726" y="47154"/>
                      <a:pt x="2878" y="20112"/>
                    </a:cubicBezTo>
                    <a:cubicBezTo>
                      <a:pt x="-1715" y="15454"/>
                      <a:pt x="-1715" y="7980"/>
                      <a:pt x="2878" y="3321"/>
                    </a:cubicBezTo>
                    <a:cubicBezTo>
                      <a:pt x="7328" y="-1259"/>
                      <a:pt x="14645" y="-1370"/>
                      <a:pt x="19231" y="3079"/>
                    </a:cubicBezTo>
                    <a:cubicBezTo>
                      <a:pt x="19310" y="3158"/>
                      <a:pt x="19395" y="3236"/>
                      <a:pt x="19473" y="3321"/>
                    </a:cubicBezTo>
                    <a:cubicBezTo>
                      <a:pt x="19957" y="3798"/>
                      <a:pt x="20394" y="4327"/>
                      <a:pt x="20780" y="4889"/>
                    </a:cubicBezTo>
                    <a:cubicBezTo>
                      <a:pt x="44934" y="36047"/>
                      <a:pt x="59288" y="73687"/>
                      <a:pt x="62006" y="113018"/>
                    </a:cubicBezTo>
                    <a:cubicBezTo>
                      <a:pt x="62326" y="119153"/>
                      <a:pt x="57844" y="124491"/>
                      <a:pt x="51748" y="125236"/>
                    </a:cubicBezTo>
                    <a:close/>
                  </a:path>
                </a:pathLst>
              </a:custGeom>
              <a:noFill/>
              <a:ln w="1633" cap="rnd">
                <a:solidFill>
                  <a:srgbClr val="263238"/>
                </a:solidFill>
                <a:prstDash val="solid"/>
                <a:round/>
              </a:ln>
            </p:spPr>
            <p:txBody>
              <a:bodyPr rtlCol="0" anchor="ctr"/>
              <a:lstStyle/>
              <a:p>
                <a:endParaRPr lang="zh-CN" altLang="en-US"/>
              </a:p>
            </p:txBody>
          </p:sp>
          <p:sp>
            <p:nvSpPr>
              <p:cNvPr id="68" name="íṧ1iḋè"/>
              <p:cNvSpPr/>
              <p:nvPr/>
            </p:nvSpPr>
            <p:spPr>
              <a:xfrm>
                <a:off x="5414700" y="5330878"/>
                <a:ext cx="62719" cy="125367"/>
              </a:xfrm>
              <a:custGeom>
                <a:avLst/>
                <a:gdLst>
                  <a:gd name="connsiteX0" fmla="*/ 51625 w 62719"/>
                  <a:gd name="connsiteY0" fmla="*/ 125141 h 125367"/>
                  <a:gd name="connsiteX1" fmla="*/ 51625 w 62719"/>
                  <a:gd name="connsiteY1" fmla="*/ 125141 h 125367"/>
                  <a:gd name="connsiteX2" fmla="*/ 39290 w 62719"/>
                  <a:gd name="connsiteY2" fmla="*/ 114688 h 125367"/>
                  <a:gd name="connsiteX3" fmla="*/ 39277 w 62719"/>
                  <a:gd name="connsiteY3" fmla="*/ 114492 h 125367"/>
                  <a:gd name="connsiteX4" fmla="*/ 39277 w 62719"/>
                  <a:gd name="connsiteY4" fmla="*/ 114492 h 125367"/>
                  <a:gd name="connsiteX5" fmla="*/ 1317 w 62719"/>
                  <a:gd name="connsiteY5" fmla="*/ 18384 h 125367"/>
                  <a:gd name="connsiteX6" fmla="*/ 4519 w 62719"/>
                  <a:gd name="connsiteY6" fmla="*/ 1789 h 125367"/>
                  <a:gd name="connsiteX7" fmla="*/ 20062 w 62719"/>
                  <a:gd name="connsiteY7" fmla="*/ 4644 h 125367"/>
                  <a:gd name="connsiteX8" fmla="*/ 20329 w 62719"/>
                  <a:gd name="connsiteY8" fmla="*/ 5056 h 125367"/>
                  <a:gd name="connsiteX9" fmla="*/ 62078 w 62719"/>
                  <a:gd name="connsiteY9" fmla="*/ 111747 h 125367"/>
                  <a:gd name="connsiteX10" fmla="*/ 52147 w 62719"/>
                  <a:gd name="connsiteY10" fmla="*/ 124814 h 125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719" h="125367">
                    <a:moveTo>
                      <a:pt x="51625" y="125141"/>
                    </a:moveTo>
                    <a:lnTo>
                      <a:pt x="51625" y="125141"/>
                    </a:lnTo>
                    <a:cubicBezTo>
                      <a:pt x="45333" y="125657"/>
                      <a:pt x="39812" y="120979"/>
                      <a:pt x="39290" y="114688"/>
                    </a:cubicBezTo>
                    <a:cubicBezTo>
                      <a:pt x="39283" y="114622"/>
                      <a:pt x="39283" y="114557"/>
                      <a:pt x="39277" y="114492"/>
                    </a:cubicBezTo>
                    <a:lnTo>
                      <a:pt x="39277" y="114492"/>
                    </a:lnTo>
                    <a:cubicBezTo>
                      <a:pt x="35683" y="73331"/>
                      <a:pt x="1709" y="19364"/>
                      <a:pt x="1317" y="18384"/>
                    </a:cubicBezTo>
                    <a:cubicBezTo>
                      <a:pt x="-2126" y="12870"/>
                      <a:pt x="-728" y="5631"/>
                      <a:pt x="4519" y="1789"/>
                    </a:cubicBezTo>
                    <a:cubicBezTo>
                      <a:pt x="9595" y="-1713"/>
                      <a:pt x="16553" y="-439"/>
                      <a:pt x="20062" y="4644"/>
                    </a:cubicBezTo>
                    <a:cubicBezTo>
                      <a:pt x="20153" y="4781"/>
                      <a:pt x="20245" y="4919"/>
                      <a:pt x="20329" y="5056"/>
                    </a:cubicBezTo>
                    <a:cubicBezTo>
                      <a:pt x="21897" y="7408"/>
                      <a:pt x="57962" y="63857"/>
                      <a:pt x="62078" y="111747"/>
                    </a:cubicBezTo>
                    <a:cubicBezTo>
                      <a:pt x="62784" y="118052"/>
                      <a:pt x="58413" y="123808"/>
                      <a:pt x="52147" y="124814"/>
                    </a:cubicBezTo>
                    <a:close/>
                  </a:path>
                </a:pathLst>
              </a:custGeom>
              <a:solidFill>
                <a:srgbClr val="FFFFFF"/>
              </a:solidFill>
              <a:ln w="6531" cap="flat">
                <a:noFill/>
                <a:prstDash val="solid"/>
                <a:miter/>
              </a:ln>
            </p:spPr>
            <p:txBody>
              <a:bodyPr rtlCol="0" anchor="ctr"/>
              <a:lstStyle/>
              <a:p>
                <a:endParaRPr lang="zh-CN" altLang="en-US"/>
              </a:p>
            </p:txBody>
          </p:sp>
          <p:sp>
            <p:nvSpPr>
              <p:cNvPr id="69" name="ïṩ1íḓé"/>
              <p:cNvSpPr/>
              <p:nvPr/>
            </p:nvSpPr>
            <p:spPr>
              <a:xfrm>
                <a:off x="5414700" y="5330878"/>
                <a:ext cx="62719" cy="125367"/>
              </a:xfrm>
              <a:custGeom>
                <a:avLst/>
                <a:gdLst>
                  <a:gd name="connsiteX0" fmla="*/ 51625 w 62719"/>
                  <a:gd name="connsiteY0" fmla="*/ 125141 h 125367"/>
                  <a:gd name="connsiteX1" fmla="*/ 51625 w 62719"/>
                  <a:gd name="connsiteY1" fmla="*/ 125141 h 125367"/>
                  <a:gd name="connsiteX2" fmla="*/ 39290 w 62719"/>
                  <a:gd name="connsiteY2" fmla="*/ 114688 h 125367"/>
                  <a:gd name="connsiteX3" fmla="*/ 39277 w 62719"/>
                  <a:gd name="connsiteY3" fmla="*/ 114492 h 125367"/>
                  <a:gd name="connsiteX4" fmla="*/ 39277 w 62719"/>
                  <a:gd name="connsiteY4" fmla="*/ 114492 h 125367"/>
                  <a:gd name="connsiteX5" fmla="*/ 1317 w 62719"/>
                  <a:gd name="connsiteY5" fmla="*/ 18384 h 125367"/>
                  <a:gd name="connsiteX6" fmla="*/ 4519 w 62719"/>
                  <a:gd name="connsiteY6" fmla="*/ 1789 h 125367"/>
                  <a:gd name="connsiteX7" fmla="*/ 20062 w 62719"/>
                  <a:gd name="connsiteY7" fmla="*/ 4644 h 125367"/>
                  <a:gd name="connsiteX8" fmla="*/ 20329 w 62719"/>
                  <a:gd name="connsiteY8" fmla="*/ 5056 h 125367"/>
                  <a:gd name="connsiteX9" fmla="*/ 62078 w 62719"/>
                  <a:gd name="connsiteY9" fmla="*/ 111747 h 125367"/>
                  <a:gd name="connsiteX10" fmla="*/ 52147 w 62719"/>
                  <a:gd name="connsiteY10" fmla="*/ 124814 h 125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719" h="125367">
                    <a:moveTo>
                      <a:pt x="51625" y="125141"/>
                    </a:moveTo>
                    <a:lnTo>
                      <a:pt x="51625" y="125141"/>
                    </a:lnTo>
                    <a:cubicBezTo>
                      <a:pt x="45333" y="125657"/>
                      <a:pt x="39812" y="120979"/>
                      <a:pt x="39290" y="114688"/>
                    </a:cubicBezTo>
                    <a:cubicBezTo>
                      <a:pt x="39283" y="114622"/>
                      <a:pt x="39283" y="114557"/>
                      <a:pt x="39277" y="114492"/>
                    </a:cubicBezTo>
                    <a:lnTo>
                      <a:pt x="39277" y="114492"/>
                    </a:lnTo>
                    <a:cubicBezTo>
                      <a:pt x="35683" y="73331"/>
                      <a:pt x="1709" y="19364"/>
                      <a:pt x="1317" y="18384"/>
                    </a:cubicBezTo>
                    <a:cubicBezTo>
                      <a:pt x="-2126" y="12870"/>
                      <a:pt x="-728" y="5631"/>
                      <a:pt x="4519" y="1789"/>
                    </a:cubicBezTo>
                    <a:cubicBezTo>
                      <a:pt x="9595" y="-1713"/>
                      <a:pt x="16553" y="-439"/>
                      <a:pt x="20062" y="4644"/>
                    </a:cubicBezTo>
                    <a:cubicBezTo>
                      <a:pt x="20153" y="4781"/>
                      <a:pt x="20245" y="4919"/>
                      <a:pt x="20329" y="5056"/>
                    </a:cubicBezTo>
                    <a:cubicBezTo>
                      <a:pt x="21897" y="7408"/>
                      <a:pt x="57962" y="63857"/>
                      <a:pt x="62078" y="111747"/>
                    </a:cubicBezTo>
                    <a:cubicBezTo>
                      <a:pt x="62784" y="118052"/>
                      <a:pt x="58413" y="123808"/>
                      <a:pt x="52147" y="124814"/>
                    </a:cubicBezTo>
                    <a:close/>
                  </a:path>
                </a:pathLst>
              </a:custGeom>
              <a:noFill/>
              <a:ln w="1633" cap="rnd">
                <a:solidFill>
                  <a:srgbClr val="263238"/>
                </a:solidFill>
                <a:prstDash val="solid"/>
                <a:round/>
              </a:ln>
            </p:spPr>
            <p:txBody>
              <a:bodyPr rtlCol="0" anchor="ctr"/>
              <a:lstStyle/>
              <a:p>
                <a:endParaRPr lang="zh-CN" altLang="en-US"/>
              </a:p>
            </p:txBody>
          </p:sp>
          <p:sp>
            <p:nvSpPr>
              <p:cNvPr id="70" name="í$ḷïďé"/>
              <p:cNvSpPr/>
              <p:nvPr/>
            </p:nvSpPr>
            <p:spPr>
              <a:xfrm>
                <a:off x="5468436" y="5322382"/>
                <a:ext cx="62735" cy="124901"/>
              </a:xfrm>
              <a:custGeom>
                <a:avLst/>
                <a:gdLst>
                  <a:gd name="connsiteX0" fmla="*/ 51268 w 62735"/>
                  <a:gd name="connsiteY0" fmla="*/ 124621 h 124901"/>
                  <a:gd name="connsiteX1" fmla="*/ 38821 w 62735"/>
                  <a:gd name="connsiteY1" fmla="*/ 115043 h 124901"/>
                  <a:gd name="connsiteX2" fmla="*/ 38920 w 62735"/>
                  <a:gd name="connsiteY2" fmla="*/ 111554 h 124901"/>
                  <a:gd name="connsiteX3" fmla="*/ 38920 w 62735"/>
                  <a:gd name="connsiteY3" fmla="*/ 111554 h 124901"/>
                  <a:gd name="connsiteX4" fmla="*/ 1548 w 62735"/>
                  <a:gd name="connsiteY4" fmla="*/ 18452 h 124901"/>
                  <a:gd name="connsiteX5" fmla="*/ 4292 w 62735"/>
                  <a:gd name="connsiteY5" fmla="*/ 1988 h 124901"/>
                  <a:gd name="connsiteX6" fmla="*/ 16314 w 62735"/>
                  <a:gd name="connsiteY6" fmla="*/ 1204 h 124901"/>
                  <a:gd name="connsiteX7" fmla="*/ 60872 w 62735"/>
                  <a:gd name="connsiteY7" fmla="*/ 115801 h 124901"/>
                  <a:gd name="connsiteX8" fmla="*/ 51268 w 62735"/>
                  <a:gd name="connsiteY8" fmla="*/ 124621 h 124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735" h="124901">
                    <a:moveTo>
                      <a:pt x="51268" y="124621"/>
                    </a:moveTo>
                    <a:cubicBezTo>
                      <a:pt x="45185" y="125411"/>
                      <a:pt x="39612" y="121125"/>
                      <a:pt x="38821" y="115043"/>
                    </a:cubicBezTo>
                    <a:cubicBezTo>
                      <a:pt x="38671" y="113880"/>
                      <a:pt x="38704" y="112704"/>
                      <a:pt x="38920" y="111554"/>
                    </a:cubicBezTo>
                    <a:lnTo>
                      <a:pt x="38920" y="111554"/>
                    </a:lnTo>
                    <a:cubicBezTo>
                      <a:pt x="46956" y="61638"/>
                      <a:pt x="1940" y="18844"/>
                      <a:pt x="1548" y="18452"/>
                    </a:cubicBezTo>
                    <a:cubicBezTo>
                      <a:pt x="-2117" y="13121"/>
                      <a:pt x="-902" y="5842"/>
                      <a:pt x="4292" y="1988"/>
                    </a:cubicBezTo>
                    <a:cubicBezTo>
                      <a:pt x="7801" y="-600"/>
                      <a:pt x="12498" y="-900"/>
                      <a:pt x="16314" y="1204"/>
                    </a:cubicBezTo>
                    <a:cubicBezTo>
                      <a:pt x="18535" y="3229"/>
                      <a:pt x="70999" y="52949"/>
                      <a:pt x="60872" y="115801"/>
                    </a:cubicBezTo>
                    <a:cubicBezTo>
                      <a:pt x="59742" y="120407"/>
                      <a:pt x="55952" y="123889"/>
                      <a:pt x="51268" y="124621"/>
                    </a:cubicBezTo>
                    <a:close/>
                  </a:path>
                </a:pathLst>
              </a:custGeom>
              <a:solidFill>
                <a:srgbClr val="FFFFFF"/>
              </a:solidFill>
              <a:ln w="6531" cap="flat">
                <a:noFill/>
                <a:prstDash val="solid"/>
                <a:miter/>
              </a:ln>
            </p:spPr>
            <p:txBody>
              <a:bodyPr rtlCol="0" anchor="ctr"/>
              <a:lstStyle/>
              <a:p>
                <a:endParaRPr lang="zh-CN" altLang="en-US"/>
              </a:p>
            </p:txBody>
          </p:sp>
          <p:sp>
            <p:nvSpPr>
              <p:cNvPr id="71" name="íṣ1iḍê"/>
              <p:cNvSpPr/>
              <p:nvPr/>
            </p:nvSpPr>
            <p:spPr>
              <a:xfrm>
                <a:off x="5468436" y="5322382"/>
                <a:ext cx="62735" cy="124901"/>
              </a:xfrm>
              <a:custGeom>
                <a:avLst/>
                <a:gdLst>
                  <a:gd name="connsiteX0" fmla="*/ 51268 w 62735"/>
                  <a:gd name="connsiteY0" fmla="*/ 124621 h 124901"/>
                  <a:gd name="connsiteX1" fmla="*/ 38821 w 62735"/>
                  <a:gd name="connsiteY1" fmla="*/ 115043 h 124901"/>
                  <a:gd name="connsiteX2" fmla="*/ 38920 w 62735"/>
                  <a:gd name="connsiteY2" fmla="*/ 111554 h 124901"/>
                  <a:gd name="connsiteX3" fmla="*/ 38920 w 62735"/>
                  <a:gd name="connsiteY3" fmla="*/ 111554 h 124901"/>
                  <a:gd name="connsiteX4" fmla="*/ 1548 w 62735"/>
                  <a:gd name="connsiteY4" fmla="*/ 18452 h 124901"/>
                  <a:gd name="connsiteX5" fmla="*/ 4292 w 62735"/>
                  <a:gd name="connsiteY5" fmla="*/ 1988 h 124901"/>
                  <a:gd name="connsiteX6" fmla="*/ 16314 w 62735"/>
                  <a:gd name="connsiteY6" fmla="*/ 1204 h 124901"/>
                  <a:gd name="connsiteX7" fmla="*/ 60872 w 62735"/>
                  <a:gd name="connsiteY7" fmla="*/ 115801 h 124901"/>
                  <a:gd name="connsiteX8" fmla="*/ 51268 w 62735"/>
                  <a:gd name="connsiteY8" fmla="*/ 124621 h 124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735" h="124901">
                    <a:moveTo>
                      <a:pt x="51268" y="124621"/>
                    </a:moveTo>
                    <a:cubicBezTo>
                      <a:pt x="45185" y="125411"/>
                      <a:pt x="39612" y="121125"/>
                      <a:pt x="38821" y="115043"/>
                    </a:cubicBezTo>
                    <a:cubicBezTo>
                      <a:pt x="38671" y="113880"/>
                      <a:pt x="38704" y="112704"/>
                      <a:pt x="38920" y="111554"/>
                    </a:cubicBezTo>
                    <a:lnTo>
                      <a:pt x="38920" y="111554"/>
                    </a:lnTo>
                    <a:cubicBezTo>
                      <a:pt x="46956" y="61638"/>
                      <a:pt x="1940" y="18844"/>
                      <a:pt x="1548" y="18452"/>
                    </a:cubicBezTo>
                    <a:cubicBezTo>
                      <a:pt x="-2117" y="13121"/>
                      <a:pt x="-902" y="5842"/>
                      <a:pt x="4292" y="1988"/>
                    </a:cubicBezTo>
                    <a:cubicBezTo>
                      <a:pt x="7801" y="-600"/>
                      <a:pt x="12498" y="-900"/>
                      <a:pt x="16314" y="1204"/>
                    </a:cubicBezTo>
                    <a:cubicBezTo>
                      <a:pt x="18535" y="3229"/>
                      <a:pt x="70999" y="52949"/>
                      <a:pt x="60872" y="115801"/>
                    </a:cubicBezTo>
                    <a:cubicBezTo>
                      <a:pt x="59742" y="120407"/>
                      <a:pt x="55952" y="123889"/>
                      <a:pt x="51268" y="124621"/>
                    </a:cubicBezTo>
                    <a:close/>
                  </a:path>
                </a:pathLst>
              </a:custGeom>
              <a:noFill/>
              <a:ln w="1633" cap="rnd">
                <a:solidFill>
                  <a:srgbClr val="263238"/>
                </a:solidFill>
                <a:prstDash val="solid"/>
                <a:round/>
              </a:ln>
            </p:spPr>
            <p:txBody>
              <a:bodyPr rtlCol="0" anchor="ctr"/>
              <a:lstStyle/>
              <a:p>
                <a:endParaRPr lang="zh-CN" altLang="en-US"/>
              </a:p>
            </p:txBody>
          </p:sp>
          <p:sp>
            <p:nvSpPr>
              <p:cNvPr id="72" name="îṩḷíďé"/>
              <p:cNvSpPr/>
              <p:nvPr/>
            </p:nvSpPr>
            <p:spPr>
              <a:xfrm>
                <a:off x="5531320" y="5313097"/>
                <a:ext cx="62641" cy="125219"/>
              </a:xfrm>
              <a:custGeom>
                <a:avLst/>
                <a:gdLst>
                  <a:gd name="connsiteX0" fmla="*/ 49602 w 62641"/>
                  <a:gd name="connsiteY0" fmla="*/ 124890 h 125219"/>
                  <a:gd name="connsiteX1" fmla="*/ 45748 w 62641"/>
                  <a:gd name="connsiteY1" fmla="*/ 124890 h 125219"/>
                  <a:gd name="connsiteX2" fmla="*/ 36862 w 62641"/>
                  <a:gd name="connsiteY2" fmla="*/ 111823 h 125219"/>
                  <a:gd name="connsiteX3" fmla="*/ 2366 w 62641"/>
                  <a:gd name="connsiteY3" fmla="*/ 18917 h 125219"/>
                  <a:gd name="connsiteX4" fmla="*/ 3143 w 62641"/>
                  <a:gd name="connsiteY4" fmla="*/ 2949 h 125219"/>
                  <a:gd name="connsiteX5" fmla="*/ 3411 w 62641"/>
                  <a:gd name="connsiteY5" fmla="*/ 2714 h 125219"/>
                  <a:gd name="connsiteX6" fmla="*/ 20071 w 62641"/>
                  <a:gd name="connsiteY6" fmla="*/ 3564 h 125219"/>
                  <a:gd name="connsiteX7" fmla="*/ 20071 w 62641"/>
                  <a:gd name="connsiteY7" fmla="*/ 3564 h 125219"/>
                  <a:gd name="connsiteX8" fmla="*/ 59925 w 62641"/>
                  <a:gd name="connsiteY8" fmla="*/ 117246 h 125219"/>
                  <a:gd name="connsiteX9" fmla="*/ 49602 w 62641"/>
                  <a:gd name="connsiteY9" fmla="*/ 124890 h 125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641" h="125219">
                    <a:moveTo>
                      <a:pt x="49602" y="124890"/>
                    </a:moveTo>
                    <a:cubicBezTo>
                      <a:pt x="48322" y="125080"/>
                      <a:pt x="47028" y="125080"/>
                      <a:pt x="45748" y="124890"/>
                    </a:cubicBezTo>
                    <a:cubicBezTo>
                      <a:pt x="39809" y="123551"/>
                      <a:pt x="35921" y="117840"/>
                      <a:pt x="36862" y="111823"/>
                    </a:cubicBezTo>
                    <a:cubicBezTo>
                      <a:pt x="47120" y="68310"/>
                      <a:pt x="2888" y="18917"/>
                      <a:pt x="2366" y="18917"/>
                    </a:cubicBezTo>
                    <a:cubicBezTo>
                      <a:pt x="-1829" y="14291"/>
                      <a:pt x="-1483" y="7144"/>
                      <a:pt x="3143" y="2949"/>
                    </a:cubicBezTo>
                    <a:cubicBezTo>
                      <a:pt x="3228" y="2871"/>
                      <a:pt x="3319" y="2792"/>
                      <a:pt x="3411" y="2714"/>
                    </a:cubicBezTo>
                    <a:cubicBezTo>
                      <a:pt x="8311" y="-1461"/>
                      <a:pt x="15622" y="-1088"/>
                      <a:pt x="20071" y="3564"/>
                    </a:cubicBezTo>
                    <a:lnTo>
                      <a:pt x="20071" y="3564"/>
                    </a:lnTo>
                    <a:cubicBezTo>
                      <a:pt x="22293" y="5916"/>
                      <a:pt x="72992" y="62038"/>
                      <a:pt x="59925" y="117246"/>
                    </a:cubicBezTo>
                    <a:cubicBezTo>
                      <a:pt x="58331" y="121636"/>
                      <a:pt x="54267" y="124648"/>
                      <a:pt x="49602" y="124890"/>
                    </a:cubicBezTo>
                    <a:close/>
                  </a:path>
                </a:pathLst>
              </a:custGeom>
              <a:solidFill>
                <a:srgbClr val="FFFFFF"/>
              </a:solidFill>
              <a:ln w="6531" cap="flat">
                <a:noFill/>
                <a:prstDash val="solid"/>
                <a:miter/>
              </a:ln>
            </p:spPr>
            <p:txBody>
              <a:bodyPr rtlCol="0" anchor="ctr"/>
              <a:lstStyle/>
              <a:p>
                <a:endParaRPr lang="zh-CN" altLang="en-US"/>
              </a:p>
            </p:txBody>
          </p:sp>
          <p:sp>
            <p:nvSpPr>
              <p:cNvPr id="73" name="iS1îdê"/>
              <p:cNvSpPr/>
              <p:nvPr/>
            </p:nvSpPr>
            <p:spPr>
              <a:xfrm>
                <a:off x="5531320" y="5313097"/>
                <a:ext cx="62641" cy="125219"/>
              </a:xfrm>
              <a:custGeom>
                <a:avLst/>
                <a:gdLst>
                  <a:gd name="connsiteX0" fmla="*/ 49602 w 62641"/>
                  <a:gd name="connsiteY0" fmla="*/ 124890 h 125219"/>
                  <a:gd name="connsiteX1" fmla="*/ 45748 w 62641"/>
                  <a:gd name="connsiteY1" fmla="*/ 124890 h 125219"/>
                  <a:gd name="connsiteX2" fmla="*/ 36862 w 62641"/>
                  <a:gd name="connsiteY2" fmla="*/ 111823 h 125219"/>
                  <a:gd name="connsiteX3" fmla="*/ 2366 w 62641"/>
                  <a:gd name="connsiteY3" fmla="*/ 18917 h 125219"/>
                  <a:gd name="connsiteX4" fmla="*/ 3143 w 62641"/>
                  <a:gd name="connsiteY4" fmla="*/ 2949 h 125219"/>
                  <a:gd name="connsiteX5" fmla="*/ 3411 w 62641"/>
                  <a:gd name="connsiteY5" fmla="*/ 2714 h 125219"/>
                  <a:gd name="connsiteX6" fmla="*/ 20071 w 62641"/>
                  <a:gd name="connsiteY6" fmla="*/ 3564 h 125219"/>
                  <a:gd name="connsiteX7" fmla="*/ 20071 w 62641"/>
                  <a:gd name="connsiteY7" fmla="*/ 3564 h 125219"/>
                  <a:gd name="connsiteX8" fmla="*/ 59925 w 62641"/>
                  <a:gd name="connsiteY8" fmla="*/ 117246 h 125219"/>
                  <a:gd name="connsiteX9" fmla="*/ 49602 w 62641"/>
                  <a:gd name="connsiteY9" fmla="*/ 124890 h 125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641" h="125219">
                    <a:moveTo>
                      <a:pt x="49602" y="124890"/>
                    </a:moveTo>
                    <a:cubicBezTo>
                      <a:pt x="48322" y="125080"/>
                      <a:pt x="47028" y="125080"/>
                      <a:pt x="45748" y="124890"/>
                    </a:cubicBezTo>
                    <a:cubicBezTo>
                      <a:pt x="39809" y="123551"/>
                      <a:pt x="35921" y="117840"/>
                      <a:pt x="36862" y="111823"/>
                    </a:cubicBezTo>
                    <a:cubicBezTo>
                      <a:pt x="47120" y="68310"/>
                      <a:pt x="2888" y="18917"/>
                      <a:pt x="2366" y="18917"/>
                    </a:cubicBezTo>
                    <a:cubicBezTo>
                      <a:pt x="-1829" y="14291"/>
                      <a:pt x="-1483" y="7144"/>
                      <a:pt x="3143" y="2949"/>
                    </a:cubicBezTo>
                    <a:cubicBezTo>
                      <a:pt x="3228" y="2871"/>
                      <a:pt x="3319" y="2792"/>
                      <a:pt x="3411" y="2714"/>
                    </a:cubicBezTo>
                    <a:cubicBezTo>
                      <a:pt x="8311" y="-1461"/>
                      <a:pt x="15622" y="-1088"/>
                      <a:pt x="20071" y="3564"/>
                    </a:cubicBezTo>
                    <a:lnTo>
                      <a:pt x="20071" y="3564"/>
                    </a:lnTo>
                    <a:cubicBezTo>
                      <a:pt x="22293" y="5916"/>
                      <a:pt x="72992" y="62038"/>
                      <a:pt x="59925" y="117246"/>
                    </a:cubicBezTo>
                    <a:cubicBezTo>
                      <a:pt x="58331" y="121636"/>
                      <a:pt x="54267" y="124648"/>
                      <a:pt x="49602" y="124890"/>
                    </a:cubicBezTo>
                    <a:close/>
                  </a:path>
                </a:pathLst>
              </a:custGeom>
              <a:noFill/>
              <a:ln w="1633" cap="rnd">
                <a:solidFill>
                  <a:srgbClr val="263238"/>
                </a:solidFill>
                <a:prstDash val="solid"/>
                <a:round/>
              </a:ln>
            </p:spPr>
            <p:txBody>
              <a:bodyPr rtlCol="0" anchor="ctr"/>
              <a:lstStyle/>
              <a:p>
                <a:endParaRPr lang="zh-CN" altLang="en-US"/>
              </a:p>
            </p:txBody>
          </p:sp>
          <p:sp>
            <p:nvSpPr>
              <p:cNvPr id="74" name="iṡľïḑê"/>
              <p:cNvSpPr/>
              <p:nvPr/>
            </p:nvSpPr>
            <p:spPr>
              <a:xfrm>
                <a:off x="6256985" y="5348731"/>
                <a:ext cx="546525" cy="250891"/>
              </a:xfrm>
              <a:custGeom>
                <a:avLst/>
                <a:gdLst>
                  <a:gd name="connsiteX0" fmla="*/ 529232 w 546525"/>
                  <a:gd name="connsiteY0" fmla="*/ -187 h 250891"/>
                  <a:gd name="connsiteX1" fmla="*/ 545958 w 546525"/>
                  <a:gd name="connsiteY1" fmla="*/ 48226 h 250891"/>
                  <a:gd name="connsiteX2" fmla="*/ 391442 w 546525"/>
                  <a:gd name="connsiteY2" fmla="*/ 165241 h 250891"/>
                  <a:gd name="connsiteX3" fmla="*/ 117428 w 546525"/>
                  <a:gd name="connsiteY3" fmla="*/ 241682 h 250891"/>
                  <a:gd name="connsiteX4" fmla="*/ 14787 w 546525"/>
                  <a:gd name="connsiteY4" fmla="*/ 250698 h 250891"/>
                  <a:gd name="connsiteX5" fmla="*/ -567 w 546525"/>
                  <a:gd name="connsiteY5" fmla="*/ 232601 h 250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6525" h="250891">
                    <a:moveTo>
                      <a:pt x="529232" y="-187"/>
                    </a:moveTo>
                    <a:lnTo>
                      <a:pt x="545958" y="48226"/>
                    </a:lnTo>
                    <a:cubicBezTo>
                      <a:pt x="545958" y="48226"/>
                      <a:pt x="524529" y="137212"/>
                      <a:pt x="391442" y="165241"/>
                    </a:cubicBezTo>
                    <a:cubicBezTo>
                      <a:pt x="258355" y="193269"/>
                      <a:pt x="181717" y="231359"/>
                      <a:pt x="117428" y="241682"/>
                    </a:cubicBezTo>
                    <a:cubicBezTo>
                      <a:pt x="83565" y="247850"/>
                      <a:pt x="49205" y="250868"/>
                      <a:pt x="14787" y="250698"/>
                    </a:cubicBezTo>
                    <a:lnTo>
                      <a:pt x="-567" y="232601"/>
                    </a:lnTo>
                    <a:close/>
                  </a:path>
                </a:pathLst>
              </a:custGeom>
              <a:solidFill>
                <a:srgbClr val="FFFFFF"/>
              </a:solidFill>
              <a:ln w="6531" cap="flat">
                <a:noFill/>
                <a:prstDash val="solid"/>
                <a:miter/>
              </a:ln>
            </p:spPr>
            <p:txBody>
              <a:bodyPr rtlCol="0" anchor="ctr"/>
              <a:lstStyle/>
              <a:p>
                <a:endParaRPr lang="zh-CN" altLang="en-US"/>
              </a:p>
            </p:txBody>
          </p:sp>
          <p:sp>
            <p:nvSpPr>
              <p:cNvPr id="75" name="i$ḻîḑe"/>
              <p:cNvSpPr/>
              <p:nvPr/>
            </p:nvSpPr>
            <p:spPr>
              <a:xfrm>
                <a:off x="6256985" y="5348731"/>
                <a:ext cx="546525" cy="250891"/>
              </a:xfrm>
              <a:custGeom>
                <a:avLst/>
                <a:gdLst>
                  <a:gd name="connsiteX0" fmla="*/ 529232 w 546525"/>
                  <a:gd name="connsiteY0" fmla="*/ -187 h 250891"/>
                  <a:gd name="connsiteX1" fmla="*/ 545958 w 546525"/>
                  <a:gd name="connsiteY1" fmla="*/ 48226 h 250891"/>
                  <a:gd name="connsiteX2" fmla="*/ 391442 w 546525"/>
                  <a:gd name="connsiteY2" fmla="*/ 165241 h 250891"/>
                  <a:gd name="connsiteX3" fmla="*/ 117428 w 546525"/>
                  <a:gd name="connsiteY3" fmla="*/ 241682 h 250891"/>
                  <a:gd name="connsiteX4" fmla="*/ 14787 w 546525"/>
                  <a:gd name="connsiteY4" fmla="*/ 250698 h 250891"/>
                  <a:gd name="connsiteX5" fmla="*/ -567 w 546525"/>
                  <a:gd name="connsiteY5" fmla="*/ 232601 h 250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6525" h="250891">
                    <a:moveTo>
                      <a:pt x="529232" y="-187"/>
                    </a:moveTo>
                    <a:lnTo>
                      <a:pt x="545958" y="48226"/>
                    </a:lnTo>
                    <a:cubicBezTo>
                      <a:pt x="545958" y="48226"/>
                      <a:pt x="524529" y="137212"/>
                      <a:pt x="391442" y="165241"/>
                    </a:cubicBezTo>
                    <a:cubicBezTo>
                      <a:pt x="258355" y="193269"/>
                      <a:pt x="181717" y="231359"/>
                      <a:pt x="117428" y="241682"/>
                    </a:cubicBezTo>
                    <a:cubicBezTo>
                      <a:pt x="83565" y="247850"/>
                      <a:pt x="49205" y="250868"/>
                      <a:pt x="14787" y="250698"/>
                    </a:cubicBezTo>
                    <a:lnTo>
                      <a:pt x="-567" y="232601"/>
                    </a:lnTo>
                    <a:close/>
                  </a:path>
                </a:pathLst>
              </a:custGeom>
              <a:noFill/>
              <a:ln w="1633" cap="rnd">
                <a:solidFill>
                  <a:srgbClr val="263238"/>
                </a:solidFill>
                <a:prstDash val="solid"/>
                <a:round/>
              </a:ln>
            </p:spPr>
            <p:txBody>
              <a:bodyPr rtlCol="0" anchor="ctr"/>
              <a:lstStyle/>
              <a:p>
                <a:endParaRPr lang="zh-CN" altLang="en-US"/>
              </a:p>
            </p:txBody>
          </p:sp>
          <p:sp>
            <p:nvSpPr>
              <p:cNvPr id="76" name="ísḻïḓè"/>
              <p:cNvSpPr/>
              <p:nvPr/>
            </p:nvSpPr>
            <p:spPr>
              <a:xfrm>
                <a:off x="6010542" y="5263795"/>
                <a:ext cx="788721" cy="313672"/>
              </a:xfrm>
              <a:custGeom>
                <a:avLst/>
                <a:gdLst>
                  <a:gd name="connsiteX0" fmla="*/ -567 w 788721"/>
                  <a:gd name="connsiteY0" fmla="*/ 157727 h 313672"/>
                  <a:gd name="connsiteX1" fmla="*/ 253847 w 788721"/>
                  <a:gd name="connsiteY1" fmla="*/ 313485 h 313672"/>
                  <a:gd name="connsiteX2" fmla="*/ 585617 w 788721"/>
                  <a:gd name="connsiteY2" fmla="*/ 229595 h 313672"/>
                  <a:gd name="connsiteX3" fmla="*/ 788154 w 788721"/>
                  <a:gd name="connsiteY3" fmla="*/ 96835 h 313672"/>
                  <a:gd name="connsiteX4" fmla="*/ 606001 w 788721"/>
                  <a:gd name="connsiteY4" fmla="*/ 21700 h 313672"/>
                  <a:gd name="connsiteX5" fmla="*/ 550467 w 788721"/>
                  <a:gd name="connsiteY5" fmla="*/ 31174 h 313672"/>
                  <a:gd name="connsiteX6" fmla="*/ 187532 w 788721"/>
                  <a:gd name="connsiteY6" fmla="*/ -187 h 31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8721" h="313672">
                    <a:moveTo>
                      <a:pt x="-567" y="157727"/>
                    </a:moveTo>
                    <a:lnTo>
                      <a:pt x="253847" y="313485"/>
                    </a:lnTo>
                    <a:cubicBezTo>
                      <a:pt x="366059" y="292369"/>
                      <a:pt x="476834" y="264353"/>
                      <a:pt x="585617" y="229595"/>
                    </a:cubicBezTo>
                    <a:cubicBezTo>
                      <a:pt x="694203" y="192942"/>
                      <a:pt x="788154" y="146882"/>
                      <a:pt x="788154" y="96835"/>
                    </a:cubicBezTo>
                    <a:cubicBezTo>
                      <a:pt x="788154" y="20785"/>
                      <a:pt x="703545" y="8764"/>
                      <a:pt x="606001" y="21700"/>
                    </a:cubicBezTo>
                    <a:cubicBezTo>
                      <a:pt x="587838" y="24052"/>
                      <a:pt x="569218" y="27319"/>
                      <a:pt x="550467" y="31174"/>
                    </a:cubicBezTo>
                    <a:cubicBezTo>
                      <a:pt x="395689" y="63841"/>
                      <a:pt x="187532" y="-187"/>
                      <a:pt x="187532" y="-187"/>
                    </a:cubicBezTo>
                    <a:close/>
                  </a:path>
                </a:pathLst>
              </a:custGeom>
              <a:solidFill>
                <a:srgbClr val="263238"/>
              </a:solidFill>
              <a:ln w="6531" cap="flat">
                <a:noFill/>
                <a:prstDash val="solid"/>
                <a:miter/>
              </a:ln>
            </p:spPr>
            <p:txBody>
              <a:bodyPr rtlCol="0" anchor="ctr"/>
              <a:lstStyle/>
              <a:p>
                <a:endParaRPr lang="zh-CN" altLang="en-US"/>
              </a:p>
            </p:txBody>
          </p:sp>
          <p:sp>
            <p:nvSpPr>
              <p:cNvPr id="77" name="i$ľíḍê"/>
              <p:cNvSpPr/>
              <p:nvPr/>
            </p:nvSpPr>
            <p:spPr>
              <a:xfrm>
                <a:off x="6006165" y="5268107"/>
                <a:ext cx="448261" cy="250885"/>
              </a:xfrm>
              <a:custGeom>
                <a:avLst/>
                <a:gdLst>
                  <a:gd name="connsiteX0" fmla="*/ -567 w 448261"/>
                  <a:gd name="connsiteY0" fmla="*/ 158054 h 250885"/>
                  <a:gd name="connsiteX1" fmla="*/ 147155 w 448261"/>
                  <a:gd name="connsiteY1" fmla="*/ 250699 h 250885"/>
                  <a:gd name="connsiteX2" fmla="*/ 447695 w 448261"/>
                  <a:gd name="connsiteY2" fmla="*/ 40713 h 250885"/>
                  <a:gd name="connsiteX3" fmla="*/ 184853 w 448261"/>
                  <a:gd name="connsiteY3" fmla="*/ -187 h 250885"/>
                </a:gdLst>
                <a:ahLst/>
                <a:cxnLst>
                  <a:cxn ang="0">
                    <a:pos x="connsiteX0" y="connsiteY0"/>
                  </a:cxn>
                  <a:cxn ang="0">
                    <a:pos x="connsiteX1" y="connsiteY1"/>
                  </a:cxn>
                  <a:cxn ang="0">
                    <a:pos x="connsiteX2" y="connsiteY2"/>
                  </a:cxn>
                  <a:cxn ang="0">
                    <a:pos x="connsiteX3" y="connsiteY3"/>
                  </a:cxn>
                </a:cxnLst>
                <a:rect l="l" t="t" r="r" b="b"/>
                <a:pathLst>
                  <a:path w="448261" h="250885">
                    <a:moveTo>
                      <a:pt x="-567" y="158054"/>
                    </a:moveTo>
                    <a:lnTo>
                      <a:pt x="147155" y="250699"/>
                    </a:lnTo>
                    <a:cubicBezTo>
                      <a:pt x="266855" y="213915"/>
                      <a:pt x="371985" y="140459"/>
                      <a:pt x="447695" y="40713"/>
                    </a:cubicBezTo>
                    <a:cubicBezTo>
                      <a:pt x="358657" y="38739"/>
                      <a:pt x="270279" y="24987"/>
                      <a:pt x="184853" y="-187"/>
                    </a:cubicBezTo>
                    <a:close/>
                  </a:path>
                </a:pathLst>
              </a:custGeom>
              <a:solidFill>
                <a:srgbClr val="000000">
                  <a:alpha val="70000"/>
                </a:srgbClr>
              </a:solidFill>
              <a:ln w="6531" cap="flat">
                <a:noFill/>
                <a:prstDash val="solid"/>
                <a:miter/>
              </a:ln>
            </p:spPr>
            <p:txBody>
              <a:bodyPr rtlCol="0" anchor="ctr"/>
              <a:lstStyle/>
              <a:p>
                <a:endParaRPr lang="zh-CN" altLang="en-US"/>
              </a:p>
            </p:txBody>
          </p:sp>
          <p:sp>
            <p:nvSpPr>
              <p:cNvPr id="78" name="îṥļîḋé"/>
              <p:cNvSpPr/>
              <p:nvPr/>
            </p:nvSpPr>
            <p:spPr>
              <a:xfrm>
                <a:off x="6006165" y="5268107"/>
                <a:ext cx="448261" cy="250885"/>
              </a:xfrm>
              <a:custGeom>
                <a:avLst/>
                <a:gdLst>
                  <a:gd name="connsiteX0" fmla="*/ -567 w 448261"/>
                  <a:gd name="connsiteY0" fmla="*/ 158054 h 250885"/>
                  <a:gd name="connsiteX1" fmla="*/ 147155 w 448261"/>
                  <a:gd name="connsiteY1" fmla="*/ 250699 h 250885"/>
                  <a:gd name="connsiteX2" fmla="*/ 447695 w 448261"/>
                  <a:gd name="connsiteY2" fmla="*/ 40713 h 250885"/>
                  <a:gd name="connsiteX3" fmla="*/ 184853 w 448261"/>
                  <a:gd name="connsiteY3" fmla="*/ -187 h 250885"/>
                </a:gdLst>
                <a:ahLst/>
                <a:cxnLst>
                  <a:cxn ang="0">
                    <a:pos x="connsiteX0" y="connsiteY0"/>
                  </a:cxn>
                  <a:cxn ang="0">
                    <a:pos x="connsiteX1" y="connsiteY1"/>
                  </a:cxn>
                  <a:cxn ang="0">
                    <a:pos x="connsiteX2" y="connsiteY2"/>
                  </a:cxn>
                  <a:cxn ang="0">
                    <a:pos x="connsiteX3" y="connsiteY3"/>
                  </a:cxn>
                </a:cxnLst>
                <a:rect l="l" t="t" r="r" b="b"/>
                <a:pathLst>
                  <a:path w="448261" h="250885">
                    <a:moveTo>
                      <a:pt x="-567" y="158054"/>
                    </a:moveTo>
                    <a:lnTo>
                      <a:pt x="147155" y="250699"/>
                    </a:lnTo>
                    <a:cubicBezTo>
                      <a:pt x="266848" y="213896"/>
                      <a:pt x="371972" y="140446"/>
                      <a:pt x="447695" y="40713"/>
                    </a:cubicBezTo>
                    <a:cubicBezTo>
                      <a:pt x="358657" y="38739"/>
                      <a:pt x="270279" y="24987"/>
                      <a:pt x="184853" y="-187"/>
                    </a:cubicBezTo>
                    <a:close/>
                  </a:path>
                </a:pathLst>
              </a:custGeom>
              <a:noFill/>
              <a:ln w="1633" cap="flat">
                <a:solidFill>
                  <a:srgbClr val="000000"/>
                </a:solidFill>
                <a:prstDash val="solid"/>
                <a:miter/>
              </a:ln>
            </p:spPr>
            <p:txBody>
              <a:bodyPr rtlCol="0" anchor="ctr"/>
              <a:lstStyle/>
              <a:p>
                <a:endParaRPr lang="zh-CN" altLang="en-US"/>
              </a:p>
            </p:txBody>
          </p:sp>
          <p:sp>
            <p:nvSpPr>
              <p:cNvPr id="79" name="îşliḓé"/>
              <p:cNvSpPr/>
              <p:nvPr/>
            </p:nvSpPr>
            <p:spPr>
              <a:xfrm>
                <a:off x="6006165" y="5268107"/>
                <a:ext cx="788655" cy="313606"/>
              </a:xfrm>
              <a:custGeom>
                <a:avLst/>
                <a:gdLst>
                  <a:gd name="connsiteX0" fmla="*/ -567 w 788655"/>
                  <a:gd name="connsiteY0" fmla="*/ 157662 h 313606"/>
                  <a:gd name="connsiteX1" fmla="*/ 253847 w 788655"/>
                  <a:gd name="connsiteY1" fmla="*/ 313420 h 313606"/>
                  <a:gd name="connsiteX2" fmla="*/ 585551 w 788655"/>
                  <a:gd name="connsiteY2" fmla="*/ 229530 h 313606"/>
                  <a:gd name="connsiteX3" fmla="*/ 788089 w 788655"/>
                  <a:gd name="connsiteY3" fmla="*/ 96835 h 313606"/>
                  <a:gd name="connsiteX4" fmla="*/ 606001 w 788655"/>
                  <a:gd name="connsiteY4" fmla="*/ 21635 h 313606"/>
                  <a:gd name="connsiteX5" fmla="*/ 550401 w 788655"/>
                  <a:gd name="connsiteY5" fmla="*/ 31109 h 313606"/>
                  <a:gd name="connsiteX6" fmla="*/ 187532 w 788655"/>
                  <a:gd name="connsiteY6" fmla="*/ -187 h 313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8655" h="313606">
                    <a:moveTo>
                      <a:pt x="-567" y="157662"/>
                    </a:moveTo>
                    <a:lnTo>
                      <a:pt x="253847" y="313420"/>
                    </a:lnTo>
                    <a:cubicBezTo>
                      <a:pt x="366040" y="292330"/>
                      <a:pt x="476834" y="264308"/>
                      <a:pt x="585551" y="229530"/>
                    </a:cubicBezTo>
                    <a:cubicBezTo>
                      <a:pt x="694137" y="192942"/>
                      <a:pt x="788089" y="146882"/>
                      <a:pt x="788089" y="96835"/>
                    </a:cubicBezTo>
                    <a:cubicBezTo>
                      <a:pt x="788089" y="20720"/>
                      <a:pt x="703546" y="8764"/>
                      <a:pt x="606001" y="21635"/>
                    </a:cubicBezTo>
                    <a:cubicBezTo>
                      <a:pt x="587772" y="24052"/>
                      <a:pt x="569152" y="27319"/>
                      <a:pt x="550401" y="31109"/>
                    </a:cubicBezTo>
                    <a:cubicBezTo>
                      <a:pt x="395689" y="63776"/>
                      <a:pt x="187532" y="-187"/>
                      <a:pt x="187532" y="-187"/>
                    </a:cubicBezTo>
                    <a:close/>
                  </a:path>
                </a:pathLst>
              </a:custGeom>
              <a:noFill/>
              <a:ln w="1633" cap="rnd">
                <a:solidFill>
                  <a:srgbClr val="263238"/>
                </a:solidFill>
                <a:prstDash val="solid"/>
                <a:round/>
              </a:ln>
            </p:spPr>
            <p:txBody>
              <a:bodyPr rtlCol="0" anchor="ctr"/>
              <a:lstStyle/>
              <a:p>
                <a:endParaRPr lang="zh-CN" altLang="en-US"/>
              </a:p>
            </p:txBody>
          </p:sp>
          <p:sp>
            <p:nvSpPr>
              <p:cNvPr id="80" name="íṣ1íďe"/>
              <p:cNvSpPr/>
              <p:nvPr/>
            </p:nvSpPr>
            <p:spPr>
              <a:xfrm>
                <a:off x="6561586" y="5286004"/>
                <a:ext cx="232972" cy="215021"/>
              </a:xfrm>
              <a:custGeom>
                <a:avLst/>
                <a:gdLst>
                  <a:gd name="connsiteX0" fmla="*/ 26863 w 232972"/>
                  <a:gd name="connsiteY0" fmla="*/ 214835 h 215021"/>
                  <a:gd name="connsiteX1" fmla="*/ 232406 w 232972"/>
                  <a:gd name="connsiteY1" fmla="*/ 80507 h 215021"/>
                  <a:gd name="connsiteX2" fmla="*/ 47443 w 232972"/>
                  <a:gd name="connsiteY2" fmla="*/ 4326 h 215021"/>
                  <a:gd name="connsiteX3" fmla="*/ 26863 w 232972"/>
                  <a:gd name="connsiteY3" fmla="*/ 214835 h 215021"/>
                </a:gdLst>
                <a:ahLst/>
                <a:cxnLst>
                  <a:cxn ang="0">
                    <a:pos x="connsiteX0" y="connsiteY0"/>
                  </a:cxn>
                  <a:cxn ang="0">
                    <a:pos x="connsiteX1" y="connsiteY1"/>
                  </a:cxn>
                  <a:cxn ang="0">
                    <a:pos x="connsiteX2" y="connsiteY2"/>
                  </a:cxn>
                  <a:cxn ang="0">
                    <a:pos x="connsiteX3" y="connsiteY3"/>
                  </a:cxn>
                </a:cxnLst>
                <a:rect l="l" t="t" r="r" b="b"/>
                <a:pathLst>
                  <a:path w="232972" h="215021">
                    <a:moveTo>
                      <a:pt x="26863" y="214835"/>
                    </a:moveTo>
                    <a:cubicBezTo>
                      <a:pt x="137213" y="177790"/>
                      <a:pt x="232406" y="131141"/>
                      <a:pt x="232406" y="80507"/>
                    </a:cubicBezTo>
                    <a:cubicBezTo>
                      <a:pt x="232406" y="3412"/>
                      <a:pt x="146491" y="-8675"/>
                      <a:pt x="47443" y="4326"/>
                    </a:cubicBezTo>
                    <a:cubicBezTo>
                      <a:pt x="43066" y="8900"/>
                      <a:pt x="-43437" y="109384"/>
                      <a:pt x="26863" y="214835"/>
                    </a:cubicBezTo>
                    <a:close/>
                  </a:path>
                </a:pathLst>
              </a:custGeom>
              <a:solidFill>
                <a:srgbClr val="FFFFFF"/>
              </a:solidFill>
              <a:ln w="6531" cap="flat">
                <a:noFill/>
                <a:prstDash val="solid"/>
                <a:miter/>
              </a:ln>
            </p:spPr>
            <p:txBody>
              <a:bodyPr rtlCol="0" anchor="ctr"/>
              <a:lstStyle/>
              <a:p>
                <a:endParaRPr lang="zh-CN" altLang="en-US"/>
              </a:p>
            </p:txBody>
          </p:sp>
          <p:sp>
            <p:nvSpPr>
              <p:cNvPr id="81" name="ïşḻîdê"/>
              <p:cNvSpPr/>
              <p:nvPr/>
            </p:nvSpPr>
            <p:spPr>
              <a:xfrm>
                <a:off x="6561586" y="5286004"/>
                <a:ext cx="232972" cy="215021"/>
              </a:xfrm>
              <a:custGeom>
                <a:avLst/>
                <a:gdLst>
                  <a:gd name="connsiteX0" fmla="*/ 26863 w 232972"/>
                  <a:gd name="connsiteY0" fmla="*/ 214835 h 215021"/>
                  <a:gd name="connsiteX1" fmla="*/ 232406 w 232972"/>
                  <a:gd name="connsiteY1" fmla="*/ 80507 h 215021"/>
                  <a:gd name="connsiteX2" fmla="*/ 47443 w 232972"/>
                  <a:gd name="connsiteY2" fmla="*/ 4326 h 215021"/>
                  <a:gd name="connsiteX3" fmla="*/ 26863 w 232972"/>
                  <a:gd name="connsiteY3" fmla="*/ 214835 h 215021"/>
                </a:gdLst>
                <a:ahLst/>
                <a:cxnLst>
                  <a:cxn ang="0">
                    <a:pos x="connsiteX0" y="connsiteY0"/>
                  </a:cxn>
                  <a:cxn ang="0">
                    <a:pos x="connsiteX1" y="connsiteY1"/>
                  </a:cxn>
                  <a:cxn ang="0">
                    <a:pos x="connsiteX2" y="connsiteY2"/>
                  </a:cxn>
                  <a:cxn ang="0">
                    <a:pos x="connsiteX3" y="connsiteY3"/>
                  </a:cxn>
                </a:cxnLst>
                <a:rect l="l" t="t" r="r" b="b"/>
                <a:pathLst>
                  <a:path w="232972" h="215021">
                    <a:moveTo>
                      <a:pt x="26863" y="214835"/>
                    </a:moveTo>
                    <a:cubicBezTo>
                      <a:pt x="137213" y="177790"/>
                      <a:pt x="232406" y="131141"/>
                      <a:pt x="232406" y="80507"/>
                    </a:cubicBezTo>
                    <a:cubicBezTo>
                      <a:pt x="232406" y="3412"/>
                      <a:pt x="146491" y="-8675"/>
                      <a:pt x="47443" y="4326"/>
                    </a:cubicBezTo>
                    <a:cubicBezTo>
                      <a:pt x="43066" y="8900"/>
                      <a:pt x="-43437" y="109384"/>
                      <a:pt x="26863" y="214835"/>
                    </a:cubicBezTo>
                    <a:close/>
                  </a:path>
                </a:pathLst>
              </a:custGeom>
              <a:noFill/>
              <a:ln w="1633" cap="rnd">
                <a:solidFill>
                  <a:srgbClr val="263238"/>
                </a:solidFill>
                <a:prstDash val="solid"/>
                <a:round/>
              </a:ln>
            </p:spPr>
            <p:txBody>
              <a:bodyPr rtlCol="0" anchor="ctr"/>
              <a:lstStyle/>
              <a:p>
                <a:endParaRPr lang="zh-CN" altLang="en-US"/>
              </a:p>
            </p:txBody>
          </p:sp>
          <p:sp>
            <p:nvSpPr>
              <p:cNvPr id="82" name="îṡlîḋê"/>
              <p:cNvSpPr/>
              <p:nvPr/>
            </p:nvSpPr>
            <p:spPr>
              <a:xfrm>
                <a:off x="6490089" y="5285877"/>
                <a:ext cx="53682" cy="125575"/>
              </a:xfrm>
              <a:custGeom>
                <a:avLst/>
                <a:gdLst>
                  <a:gd name="connsiteX0" fmla="*/ 10158 w 53682"/>
                  <a:gd name="connsiteY0" fmla="*/ 125388 h 125575"/>
                  <a:gd name="connsiteX1" fmla="*/ 10812 w 53682"/>
                  <a:gd name="connsiteY1" fmla="*/ 125388 h 125575"/>
                  <a:gd name="connsiteX2" fmla="*/ 21200 w 53682"/>
                  <a:gd name="connsiteY2" fmla="*/ 112909 h 125575"/>
                  <a:gd name="connsiteX3" fmla="*/ 49882 w 53682"/>
                  <a:gd name="connsiteY3" fmla="*/ 19938 h 125575"/>
                  <a:gd name="connsiteX4" fmla="*/ 49882 w 53682"/>
                  <a:gd name="connsiteY4" fmla="*/ 3277 h 125575"/>
                  <a:gd name="connsiteX5" fmla="*/ 35116 w 53682"/>
                  <a:gd name="connsiteY5" fmla="*/ 2493 h 125575"/>
                  <a:gd name="connsiteX6" fmla="*/ 34332 w 53682"/>
                  <a:gd name="connsiteY6" fmla="*/ 3277 h 125575"/>
                  <a:gd name="connsiteX7" fmla="*/ 32895 w 53682"/>
                  <a:gd name="connsiteY7" fmla="*/ 5172 h 125575"/>
                  <a:gd name="connsiteX8" fmla="*/ -557 w 53682"/>
                  <a:gd name="connsiteY8" fmla="*/ 113628 h 125575"/>
                  <a:gd name="connsiteX9" fmla="*/ 10158 w 53682"/>
                  <a:gd name="connsiteY9" fmla="*/ 125388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682" h="125575">
                    <a:moveTo>
                      <a:pt x="10158" y="125388"/>
                    </a:moveTo>
                    <a:lnTo>
                      <a:pt x="10812" y="125388"/>
                    </a:lnTo>
                    <a:cubicBezTo>
                      <a:pt x="17084" y="124702"/>
                      <a:pt x="21657" y="119188"/>
                      <a:pt x="21200" y="112909"/>
                    </a:cubicBezTo>
                    <a:cubicBezTo>
                      <a:pt x="21330" y="79758"/>
                      <a:pt x="31327" y="47392"/>
                      <a:pt x="49882" y="19938"/>
                    </a:cubicBezTo>
                    <a:cubicBezTo>
                      <a:pt x="54194" y="15221"/>
                      <a:pt x="54194" y="7995"/>
                      <a:pt x="49882" y="3277"/>
                    </a:cubicBezTo>
                    <a:cubicBezTo>
                      <a:pt x="46027" y="-1015"/>
                      <a:pt x="39428" y="-1368"/>
                      <a:pt x="35116" y="2493"/>
                    </a:cubicBezTo>
                    <a:cubicBezTo>
                      <a:pt x="34855" y="2742"/>
                      <a:pt x="34594" y="3003"/>
                      <a:pt x="34332" y="3277"/>
                    </a:cubicBezTo>
                    <a:cubicBezTo>
                      <a:pt x="33810" y="3846"/>
                      <a:pt x="33287" y="4486"/>
                      <a:pt x="32895" y="5172"/>
                    </a:cubicBezTo>
                    <a:cubicBezTo>
                      <a:pt x="10877" y="37030"/>
                      <a:pt x="-818" y="74898"/>
                      <a:pt x="-557" y="113628"/>
                    </a:cubicBezTo>
                    <a:cubicBezTo>
                      <a:pt x="-818" y="119822"/>
                      <a:pt x="3952" y="125068"/>
                      <a:pt x="10158" y="125388"/>
                    </a:cubicBezTo>
                    <a:close/>
                  </a:path>
                </a:pathLst>
              </a:custGeom>
              <a:solidFill>
                <a:srgbClr val="FFFFFF"/>
              </a:solidFill>
              <a:ln w="6531" cap="flat">
                <a:noFill/>
                <a:prstDash val="solid"/>
                <a:miter/>
              </a:ln>
            </p:spPr>
            <p:txBody>
              <a:bodyPr rtlCol="0" anchor="ctr"/>
              <a:lstStyle/>
              <a:p>
                <a:endParaRPr lang="zh-CN" altLang="en-US"/>
              </a:p>
            </p:txBody>
          </p:sp>
          <p:sp>
            <p:nvSpPr>
              <p:cNvPr id="83" name="íṧ1îḋe"/>
              <p:cNvSpPr/>
              <p:nvPr/>
            </p:nvSpPr>
            <p:spPr>
              <a:xfrm>
                <a:off x="6490089" y="5285877"/>
                <a:ext cx="53682" cy="125575"/>
              </a:xfrm>
              <a:custGeom>
                <a:avLst/>
                <a:gdLst>
                  <a:gd name="connsiteX0" fmla="*/ 10158 w 53682"/>
                  <a:gd name="connsiteY0" fmla="*/ 125388 h 125575"/>
                  <a:gd name="connsiteX1" fmla="*/ 10812 w 53682"/>
                  <a:gd name="connsiteY1" fmla="*/ 125388 h 125575"/>
                  <a:gd name="connsiteX2" fmla="*/ 21200 w 53682"/>
                  <a:gd name="connsiteY2" fmla="*/ 112909 h 125575"/>
                  <a:gd name="connsiteX3" fmla="*/ 49882 w 53682"/>
                  <a:gd name="connsiteY3" fmla="*/ 19938 h 125575"/>
                  <a:gd name="connsiteX4" fmla="*/ 49882 w 53682"/>
                  <a:gd name="connsiteY4" fmla="*/ 3277 h 125575"/>
                  <a:gd name="connsiteX5" fmla="*/ 35116 w 53682"/>
                  <a:gd name="connsiteY5" fmla="*/ 2493 h 125575"/>
                  <a:gd name="connsiteX6" fmla="*/ 34332 w 53682"/>
                  <a:gd name="connsiteY6" fmla="*/ 3277 h 125575"/>
                  <a:gd name="connsiteX7" fmla="*/ 32895 w 53682"/>
                  <a:gd name="connsiteY7" fmla="*/ 5172 h 125575"/>
                  <a:gd name="connsiteX8" fmla="*/ -557 w 53682"/>
                  <a:gd name="connsiteY8" fmla="*/ 113628 h 125575"/>
                  <a:gd name="connsiteX9" fmla="*/ 10158 w 53682"/>
                  <a:gd name="connsiteY9" fmla="*/ 125388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682" h="125575">
                    <a:moveTo>
                      <a:pt x="10158" y="125388"/>
                    </a:moveTo>
                    <a:lnTo>
                      <a:pt x="10812" y="125388"/>
                    </a:lnTo>
                    <a:cubicBezTo>
                      <a:pt x="17084" y="124702"/>
                      <a:pt x="21657" y="119188"/>
                      <a:pt x="21200" y="112909"/>
                    </a:cubicBezTo>
                    <a:cubicBezTo>
                      <a:pt x="21330" y="79758"/>
                      <a:pt x="31327" y="47392"/>
                      <a:pt x="49882" y="19938"/>
                    </a:cubicBezTo>
                    <a:cubicBezTo>
                      <a:pt x="54194" y="15221"/>
                      <a:pt x="54194" y="7995"/>
                      <a:pt x="49882" y="3277"/>
                    </a:cubicBezTo>
                    <a:cubicBezTo>
                      <a:pt x="46027" y="-1015"/>
                      <a:pt x="39428" y="-1368"/>
                      <a:pt x="35116" y="2493"/>
                    </a:cubicBezTo>
                    <a:cubicBezTo>
                      <a:pt x="34855" y="2742"/>
                      <a:pt x="34594" y="3003"/>
                      <a:pt x="34332" y="3277"/>
                    </a:cubicBezTo>
                    <a:cubicBezTo>
                      <a:pt x="33810" y="3846"/>
                      <a:pt x="33287" y="4486"/>
                      <a:pt x="32895" y="5172"/>
                    </a:cubicBezTo>
                    <a:cubicBezTo>
                      <a:pt x="10877" y="37030"/>
                      <a:pt x="-818" y="74898"/>
                      <a:pt x="-557" y="113628"/>
                    </a:cubicBezTo>
                    <a:cubicBezTo>
                      <a:pt x="-818" y="119822"/>
                      <a:pt x="3952" y="125068"/>
                      <a:pt x="10158" y="125388"/>
                    </a:cubicBezTo>
                    <a:close/>
                  </a:path>
                </a:pathLst>
              </a:custGeom>
              <a:noFill/>
              <a:ln w="1633" cap="rnd">
                <a:solidFill>
                  <a:srgbClr val="263238"/>
                </a:solidFill>
                <a:prstDash val="solid"/>
                <a:round/>
              </a:ln>
            </p:spPr>
            <p:txBody>
              <a:bodyPr rtlCol="0" anchor="ctr"/>
              <a:lstStyle/>
              <a:p>
                <a:endParaRPr lang="zh-CN" altLang="en-US"/>
              </a:p>
            </p:txBody>
          </p:sp>
          <p:sp>
            <p:nvSpPr>
              <p:cNvPr id="84" name="íṥḻidé"/>
              <p:cNvSpPr/>
              <p:nvPr/>
            </p:nvSpPr>
            <p:spPr>
              <a:xfrm>
                <a:off x="6445145" y="5295022"/>
                <a:ext cx="53731" cy="125383"/>
              </a:xfrm>
              <a:custGeom>
                <a:avLst/>
                <a:gdLst>
                  <a:gd name="connsiteX0" fmla="*/ 11720 w 53731"/>
                  <a:gd name="connsiteY0" fmla="*/ 125194 h 125383"/>
                  <a:gd name="connsiteX1" fmla="*/ 12831 w 53731"/>
                  <a:gd name="connsiteY1" fmla="*/ 125194 h 125383"/>
                  <a:gd name="connsiteX2" fmla="*/ 24003 w 53731"/>
                  <a:gd name="connsiteY2" fmla="*/ 112754 h 125383"/>
                  <a:gd name="connsiteX3" fmla="*/ 24003 w 53731"/>
                  <a:gd name="connsiteY3" fmla="*/ 112650 h 125383"/>
                  <a:gd name="connsiteX4" fmla="*/ 50987 w 53731"/>
                  <a:gd name="connsiteY4" fmla="*/ 18110 h 125383"/>
                  <a:gd name="connsiteX5" fmla="*/ 48569 w 53731"/>
                  <a:gd name="connsiteY5" fmla="*/ 2312 h 125383"/>
                  <a:gd name="connsiteX6" fmla="*/ 47850 w 53731"/>
                  <a:gd name="connsiteY6" fmla="*/ 1842 h 125383"/>
                  <a:gd name="connsiteX7" fmla="*/ 30602 w 53731"/>
                  <a:gd name="connsiteY7" fmla="*/ 4782 h 125383"/>
                  <a:gd name="connsiteX8" fmla="*/ -432 w 53731"/>
                  <a:gd name="connsiteY8" fmla="*/ 114152 h 125383"/>
                  <a:gd name="connsiteX9" fmla="*/ 11720 w 53731"/>
                  <a:gd name="connsiteY9" fmla="*/ 125194 h 125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731" h="125383">
                    <a:moveTo>
                      <a:pt x="11720" y="125194"/>
                    </a:moveTo>
                    <a:lnTo>
                      <a:pt x="12831" y="125194"/>
                    </a:lnTo>
                    <a:cubicBezTo>
                      <a:pt x="19365" y="124848"/>
                      <a:pt x="24330" y="119274"/>
                      <a:pt x="24003" y="112754"/>
                    </a:cubicBezTo>
                    <a:cubicBezTo>
                      <a:pt x="24003" y="112721"/>
                      <a:pt x="24003" y="112682"/>
                      <a:pt x="24003" y="112650"/>
                    </a:cubicBezTo>
                    <a:cubicBezTo>
                      <a:pt x="23023" y="79107"/>
                      <a:pt x="32431" y="46087"/>
                      <a:pt x="50987" y="18110"/>
                    </a:cubicBezTo>
                    <a:cubicBezTo>
                      <a:pt x="54645" y="13073"/>
                      <a:pt x="53600" y="6004"/>
                      <a:pt x="48569" y="2312"/>
                    </a:cubicBezTo>
                    <a:cubicBezTo>
                      <a:pt x="48308" y="2149"/>
                      <a:pt x="48112" y="1992"/>
                      <a:pt x="47850" y="1842"/>
                    </a:cubicBezTo>
                    <a:cubicBezTo>
                      <a:pt x="42166" y="-1738"/>
                      <a:pt x="34718" y="-471"/>
                      <a:pt x="30602" y="4782"/>
                    </a:cubicBezTo>
                    <a:cubicBezTo>
                      <a:pt x="8944" y="37038"/>
                      <a:pt x="-1921" y="75331"/>
                      <a:pt x="-432" y="114152"/>
                    </a:cubicBezTo>
                    <a:cubicBezTo>
                      <a:pt x="52" y="120470"/>
                      <a:pt x="5383" y="125318"/>
                      <a:pt x="11720" y="125194"/>
                    </a:cubicBezTo>
                    <a:close/>
                  </a:path>
                </a:pathLst>
              </a:custGeom>
              <a:solidFill>
                <a:srgbClr val="FFFFFF"/>
              </a:solidFill>
              <a:ln w="6531" cap="flat">
                <a:noFill/>
                <a:prstDash val="solid"/>
                <a:miter/>
              </a:ln>
            </p:spPr>
            <p:txBody>
              <a:bodyPr rtlCol="0" anchor="ctr"/>
              <a:lstStyle/>
              <a:p>
                <a:endParaRPr lang="zh-CN" altLang="en-US"/>
              </a:p>
            </p:txBody>
          </p:sp>
          <p:sp>
            <p:nvSpPr>
              <p:cNvPr id="85" name="iślíḑe"/>
              <p:cNvSpPr/>
              <p:nvPr/>
            </p:nvSpPr>
            <p:spPr>
              <a:xfrm>
                <a:off x="6445145" y="5295022"/>
                <a:ext cx="53731" cy="125383"/>
              </a:xfrm>
              <a:custGeom>
                <a:avLst/>
                <a:gdLst>
                  <a:gd name="connsiteX0" fmla="*/ 11720 w 53731"/>
                  <a:gd name="connsiteY0" fmla="*/ 125194 h 125383"/>
                  <a:gd name="connsiteX1" fmla="*/ 12831 w 53731"/>
                  <a:gd name="connsiteY1" fmla="*/ 125194 h 125383"/>
                  <a:gd name="connsiteX2" fmla="*/ 24003 w 53731"/>
                  <a:gd name="connsiteY2" fmla="*/ 112754 h 125383"/>
                  <a:gd name="connsiteX3" fmla="*/ 24003 w 53731"/>
                  <a:gd name="connsiteY3" fmla="*/ 112650 h 125383"/>
                  <a:gd name="connsiteX4" fmla="*/ 50987 w 53731"/>
                  <a:gd name="connsiteY4" fmla="*/ 18110 h 125383"/>
                  <a:gd name="connsiteX5" fmla="*/ 48569 w 53731"/>
                  <a:gd name="connsiteY5" fmla="*/ 2312 h 125383"/>
                  <a:gd name="connsiteX6" fmla="*/ 47850 w 53731"/>
                  <a:gd name="connsiteY6" fmla="*/ 1842 h 125383"/>
                  <a:gd name="connsiteX7" fmla="*/ 30602 w 53731"/>
                  <a:gd name="connsiteY7" fmla="*/ 4782 h 125383"/>
                  <a:gd name="connsiteX8" fmla="*/ -432 w 53731"/>
                  <a:gd name="connsiteY8" fmla="*/ 114152 h 125383"/>
                  <a:gd name="connsiteX9" fmla="*/ 11720 w 53731"/>
                  <a:gd name="connsiteY9" fmla="*/ 125194 h 125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731" h="125383">
                    <a:moveTo>
                      <a:pt x="11720" y="125194"/>
                    </a:moveTo>
                    <a:lnTo>
                      <a:pt x="12831" y="125194"/>
                    </a:lnTo>
                    <a:cubicBezTo>
                      <a:pt x="19365" y="124848"/>
                      <a:pt x="24330" y="119274"/>
                      <a:pt x="24003" y="112754"/>
                    </a:cubicBezTo>
                    <a:cubicBezTo>
                      <a:pt x="24003" y="112721"/>
                      <a:pt x="24003" y="112682"/>
                      <a:pt x="24003" y="112650"/>
                    </a:cubicBezTo>
                    <a:cubicBezTo>
                      <a:pt x="23089" y="79113"/>
                      <a:pt x="32497" y="46106"/>
                      <a:pt x="50987" y="18110"/>
                    </a:cubicBezTo>
                    <a:cubicBezTo>
                      <a:pt x="54645" y="13073"/>
                      <a:pt x="53600" y="6004"/>
                      <a:pt x="48569" y="2312"/>
                    </a:cubicBezTo>
                    <a:cubicBezTo>
                      <a:pt x="48308" y="2149"/>
                      <a:pt x="48112" y="1992"/>
                      <a:pt x="47850" y="1842"/>
                    </a:cubicBezTo>
                    <a:cubicBezTo>
                      <a:pt x="42166" y="-1738"/>
                      <a:pt x="34718" y="-471"/>
                      <a:pt x="30602" y="4782"/>
                    </a:cubicBezTo>
                    <a:cubicBezTo>
                      <a:pt x="8944" y="37038"/>
                      <a:pt x="-1921" y="75331"/>
                      <a:pt x="-432" y="114152"/>
                    </a:cubicBezTo>
                    <a:cubicBezTo>
                      <a:pt x="52" y="120470"/>
                      <a:pt x="5383" y="125318"/>
                      <a:pt x="11720" y="125194"/>
                    </a:cubicBezTo>
                    <a:close/>
                  </a:path>
                </a:pathLst>
              </a:custGeom>
              <a:noFill/>
              <a:ln w="1633" cap="rnd">
                <a:solidFill>
                  <a:srgbClr val="263238"/>
                </a:solidFill>
                <a:prstDash val="solid"/>
                <a:round/>
              </a:ln>
            </p:spPr>
            <p:txBody>
              <a:bodyPr rtlCol="0" anchor="ctr"/>
              <a:lstStyle/>
              <a:p>
                <a:endParaRPr lang="zh-CN" altLang="en-US"/>
              </a:p>
            </p:txBody>
          </p:sp>
          <p:sp>
            <p:nvSpPr>
              <p:cNvPr id="86" name="íşľíḍè"/>
              <p:cNvSpPr/>
              <p:nvPr/>
            </p:nvSpPr>
            <p:spPr>
              <a:xfrm>
                <a:off x="6391940" y="5295146"/>
                <a:ext cx="44482" cy="125256"/>
              </a:xfrm>
              <a:custGeom>
                <a:avLst/>
                <a:gdLst>
                  <a:gd name="connsiteX0" fmla="*/ 8802 w 44482"/>
                  <a:gd name="connsiteY0" fmla="*/ 125070 h 125256"/>
                  <a:gd name="connsiteX1" fmla="*/ 8802 w 44482"/>
                  <a:gd name="connsiteY1" fmla="*/ 125070 h 125256"/>
                  <a:gd name="connsiteX2" fmla="*/ 18733 w 44482"/>
                  <a:gd name="connsiteY2" fmla="*/ 113310 h 125256"/>
                  <a:gd name="connsiteX3" fmla="*/ 42776 w 44482"/>
                  <a:gd name="connsiteY3" fmla="*/ 16745 h 125256"/>
                  <a:gd name="connsiteX4" fmla="*/ 38660 w 44482"/>
                  <a:gd name="connsiteY4" fmla="*/ 934 h 125256"/>
                  <a:gd name="connsiteX5" fmla="*/ 26168 w 44482"/>
                  <a:gd name="connsiteY5" fmla="*/ 4625 h 125256"/>
                  <a:gd name="connsiteX6" fmla="*/ 25593 w 44482"/>
                  <a:gd name="connsiteY6" fmla="*/ 5899 h 125256"/>
                  <a:gd name="connsiteX7" fmla="*/ -541 w 44482"/>
                  <a:gd name="connsiteY7" fmla="*/ 113702 h 125256"/>
                  <a:gd name="connsiteX8" fmla="*/ 8802 w 44482"/>
                  <a:gd name="connsiteY8" fmla="*/ 125070 h 125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82" h="125256">
                    <a:moveTo>
                      <a:pt x="8802" y="125070"/>
                    </a:moveTo>
                    <a:lnTo>
                      <a:pt x="8802" y="125070"/>
                    </a:lnTo>
                    <a:cubicBezTo>
                      <a:pt x="14767" y="124515"/>
                      <a:pt x="19184" y="119281"/>
                      <a:pt x="18733" y="113310"/>
                    </a:cubicBezTo>
                    <a:cubicBezTo>
                      <a:pt x="18080" y="72476"/>
                      <a:pt x="42450" y="17268"/>
                      <a:pt x="42776" y="16745"/>
                    </a:cubicBezTo>
                    <a:cubicBezTo>
                      <a:pt x="45272" y="11159"/>
                      <a:pt x="43567" y="4593"/>
                      <a:pt x="38660" y="934"/>
                    </a:cubicBezTo>
                    <a:cubicBezTo>
                      <a:pt x="34191" y="-1497"/>
                      <a:pt x="28599" y="157"/>
                      <a:pt x="26168" y="4625"/>
                    </a:cubicBezTo>
                    <a:cubicBezTo>
                      <a:pt x="25946" y="5037"/>
                      <a:pt x="25750" y="5462"/>
                      <a:pt x="25593" y="5899"/>
                    </a:cubicBezTo>
                    <a:cubicBezTo>
                      <a:pt x="24482" y="8317"/>
                      <a:pt x="-1390" y="66857"/>
                      <a:pt x="-541" y="113702"/>
                    </a:cubicBezTo>
                    <a:cubicBezTo>
                      <a:pt x="-933" y="119366"/>
                      <a:pt x="3164" y="124358"/>
                      <a:pt x="8802" y="125070"/>
                    </a:cubicBezTo>
                    <a:close/>
                  </a:path>
                </a:pathLst>
              </a:custGeom>
              <a:solidFill>
                <a:srgbClr val="FFFFFF"/>
              </a:solidFill>
              <a:ln w="6531" cap="flat">
                <a:noFill/>
                <a:prstDash val="solid"/>
                <a:miter/>
              </a:ln>
            </p:spPr>
            <p:txBody>
              <a:bodyPr rtlCol="0" anchor="ctr"/>
              <a:lstStyle/>
              <a:p>
                <a:endParaRPr lang="zh-CN" altLang="en-US"/>
              </a:p>
            </p:txBody>
          </p:sp>
          <p:sp>
            <p:nvSpPr>
              <p:cNvPr id="87" name="ïsľîdê"/>
              <p:cNvSpPr/>
              <p:nvPr/>
            </p:nvSpPr>
            <p:spPr>
              <a:xfrm>
                <a:off x="6391940" y="5295146"/>
                <a:ext cx="44482" cy="125256"/>
              </a:xfrm>
              <a:custGeom>
                <a:avLst/>
                <a:gdLst>
                  <a:gd name="connsiteX0" fmla="*/ 8802 w 44482"/>
                  <a:gd name="connsiteY0" fmla="*/ 125070 h 125256"/>
                  <a:gd name="connsiteX1" fmla="*/ 8802 w 44482"/>
                  <a:gd name="connsiteY1" fmla="*/ 125070 h 125256"/>
                  <a:gd name="connsiteX2" fmla="*/ 18733 w 44482"/>
                  <a:gd name="connsiteY2" fmla="*/ 113310 h 125256"/>
                  <a:gd name="connsiteX3" fmla="*/ 42776 w 44482"/>
                  <a:gd name="connsiteY3" fmla="*/ 16745 h 125256"/>
                  <a:gd name="connsiteX4" fmla="*/ 38660 w 44482"/>
                  <a:gd name="connsiteY4" fmla="*/ 934 h 125256"/>
                  <a:gd name="connsiteX5" fmla="*/ 26168 w 44482"/>
                  <a:gd name="connsiteY5" fmla="*/ 4625 h 125256"/>
                  <a:gd name="connsiteX6" fmla="*/ 25593 w 44482"/>
                  <a:gd name="connsiteY6" fmla="*/ 5899 h 125256"/>
                  <a:gd name="connsiteX7" fmla="*/ -541 w 44482"/>
                  <a:gd name="connsiteY7" fmla="*/ 113702 h 125256"/>
                  <a:gd name="connsiteX8" fmla="*/ 8802 w 44482"/>
                  <a:gd name="connsiteY8" fmla="*/ 125070 h 125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82" h="125256">
                    <a:moveTo>
                      <a:pt x="8802" y="125070"/>
                    </a:moveTo>
                    <a:lnTo>
                      <a:pt x="8802" y="125070"/>
                    </a:lnTo>
                    <a:cubicBezTo>
                      <a:pt x="14767" y="124515"/>
                      <a:pt x="19184" y="119281"/>
                      <a:pt x="18733" y="113310"/>
                    </a:cubicBezTo>
                    <a:cubicBezTo>
                      <a:pt x="18080" y="72476"/>
                      <a:pt x="42450" y="17268"/>
                      <a:pt x="42776" y="16745"/>
                    </a:cubicBezTo>
                    <a:cubicBezTo>
                      <a:pt x="45272" y="11159"/>
                      <a:pt x="43567" y="4593"/>
                      <a:pt x="38660" y="934"/>
                    </a:cubicBezTo>
                    <a:cubicBezTo>
                      <a:pt x="34191" y="-1497"/>
                      <a:pt x="28599" y="157"/>
                      <a:pt x="26168" y="4625"/>
                    </a:cubicBezTo>
                    <a:cubicBezTo>
                      <a:pt x="25946" y="5037"/>
                      <a:pt x="25750" y="5462"/>
                      <a:pt x="25593" y="5899"/>
                    </a:cubicBezTo>
                    <a:cubicBezTo>
                      <a:pt x="24482" y="8317"/>
                      <a:pt x="-1390" y="66857"/>
                      <a:pt x="-541" y="113702"/>
                    </a:cubicBezTo>
                    <a:cubicBezTo>
                      <a:pt x="-933" y="119366"/>
                      <a:pt x="3164" y="124358"/>
                      <a:pt x="8802" y="125070"/>
                    </a:cubicBezTo>
                    <a:close/>
                  </a:path>
                </a:pathLst>
              </a:custGeom>
              <a:noFill/>
              <a:ln w="1633" cap="rnd">
                <a:solidFill>
                  <a:srgbClr val="263238"/>
                </a:solidFill>
                <a:prstDash val="solid"/>
                <a:round/>
              </a:ln>
            </p:spPr>
            <p:txBody>
              <a:bodyPr rtlCol="0" anchor="ctr"/>
              <a:lstStyle/>
              <a:p>
                <a:endParaRPr lang="zh-CN" altLang="en-US"/>
              </a:p>
            </p:txBody>
          </p:sp>
          <p:sp>
            <p:nvSpPr>
              <p:cNvPr id="88" name="íşļíḓe"/>
              <p:cNvSpPr/>
              <p:nvPr/>
            </p:nvSpPr>
            <p:spPr>
              <a:xfrm>
                <a:off x="6328635" y="5285987"/>
                <a:ext cx="62713" cy="134416"/>
              </a:xfrm>
              <a:custGeom>
                <a:avLst/>
                <a:gdLst>
                  <a:gd name="connsiteX0" fmla="*/ 15593 w 62713"/>
                  <a:gd name="connsiteY0" fmla="*/ 134229 h 134416"/>
                  <a:gd name="connsiteX1" fmla="*/ 18925 w 62713"/>
                  <a:gd name="connsiteY1" fmla="*/ 134229 h 134416"/>
                  <a:gd name="connsiteX2" fmla="*/ 27726 w 62713"/>
                  <a:gd name="connsiteY2" fmla="*/ 119575 h 134416"/>
                  <a:gd name="connsiteX3" fmla="*/ 27680 w 62713"/>
                  <a:gd name="connsiteY3" fmla="*/ 119398 h 134416"/>
                  <a:gd name="connsiteX4" fmla="*/ 58256 w 62713"/>
                  <a:gd name="connsiteY4" fmla="*/ 20612 h 134416"/>
                  <a:gd name="connsiteX5" fmla="*/ 59165 w 62713"/>
                  <a:gd name="connsiteY5" fmla="*/ 4096 h 134416"/>
                  <a:gd name="connsiteX6" fmla="*/ 58648 w 62713"/>
                  <a:gd name="connsiteY6" fmla="*/ 3560 h 134416"/>
                  <a:gd name="connsiteX7" fmla="*/ 40747 w 62713"/>
                  <a:gd name="connsiteY7" fmla="*/ 3168 h 134416"/>
                  <a:gd name="connsiteX8" fmla="*/ 39440 w 62713"/>
                  <a:gd name="connsiteY8" fmla="*/ 4540 h 134416"/>
                  <a:gd name="connsiteX9" fmla="*/ 3310 w 62713"/>
                  <a:gd name="connsiteY9" fmla="*/ 125932 h 134416"/>
                  <a:gd name="connsiteX10" fmla="*/ 15593 w 62713"/>
                  <a:gd name="connsiteY10" fmla="*/ 134229 h 134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713" h="134416">
                    <a:moveTo>
                      <a:pt x="15593" y="134229"/>
                    </a:moveTo>
                    <a:lnTo>
                      <a:pt x="18925" y="134229"/>
                    </a:lnTo>
                    <a:cubicBezTo>
                      <a:pt x="25400" y="132615"/>
                      <a:pt x="29340" y="126049"/>
                      <a:pt x="27726" y="119575"/>
                    </a:cubicBezTo>
                    <a:cubicBezTo>
                      <a:pt x="27713" y="119516"/>
                      <a:pt x="27693" y="119457"/>
                      <a:pt x="27680" y="119398"/>
                    </a:cubicBezTo>
                    <a:cubicBezTo>
                      <a:pt x="13110" y="69613"/>
                      <a:pt x="57799" y="21396"/>
                      <a:pt x="58256" y="20612"/>
                    </a:cubicBezTo>
                    <a:cubicBezTo>
                      <a:pt x="63065" y="16300"/>
                      <a:pt x="63470" y="8911"/>
                      <a:pt x="59165" y="4096"/>
                    </a:cubicBezTo>
                    <a:cubicBezTo>
                      <a:pt x="58995" y="3913"/>
                      <a:pt x="58825" y="3736"/>
                      <a:pt x="58648" y="3560"/>
                    </a:cubicBezTo>
                    <a:cubicBezTo>
                      <a:pt x="53722" y="-1281"/>
                      <a:pt x="45882" y="-1451"/>
                      <a:pt x="40747" y="3168"/>
                    </a:cubicBezTo>
                    <a:cubicBezTo>
                      <a:pt x="40276" y="3592"/>
                      <a:pt x="39845" y="4050"/>
                      <a:pt x="39440" y="4540"/>
                    </a:cubicBezTo>
                    <a:cubicBezTo>
                      <a:pt x="37284" y="6892"/>
                      <a:pt x="-14984" y="63341"/>
                      <a:pt x="3310" y="125932"/>
                    </a:cubicBezTo>
                    <a:cubicBezTo>
                      <a:pt x="5290" y="130976"/>
                      <a:pt x="10177" y="134275"/>
                      <a:pt x="15593" y="134229"/>
                    </a:cubicBezTo>
                    <a:close/>
                  </a:path>
                </a:pathLst>
              </a:custGeom>
              <a:solidFill>
                <a:srgbClr val="FFFFFF"/>
              </a:solidFill>
              <a:ln w="6531" cap="flat">
                <a:noFill/>
                <a:prstDash val="solid"/>
                <a:miter/>
              </a:ln>
            </p:spPr>
            <p:txBody>
              <a:bodyPr rtlCol="0" anchor="ctr"/>
              <a:lstStyle/>
              <a:p>
                <a:endParaRPr lang="zh-CN" altLang="en-US"/>
              </a:p>
            </p:txBody>
          </p:sp>
          <p:sp>
            <p:nvSpPr>
              <p:cNvPr id="89" name="îṣľidè"/>
              <p:cNvSpPr/>
              <p:nvPr/>
            </p:nvSpPr>
            <p:spPr>
              <a:xfrm>
                <a:off x="6328635" y="5285987"/>
                <a:ext cx="62713" cy="134416"/>
              </a:xfrm>
              <a:custGeom>
                <a:avLst/>
                <a:gdLst>
                  <a:gd name="connsiteX0" fmla="*/ 15593 w 62713"/>
                  <a:gd name="connsiteY0" fmla="*/ 134229 h 134416"/>
                  <a:gd name="connsiteX1" fmla="*/ 18925 w 62713"/>
                  <a:gd name="connsiteY1" fmla="*/ 134229 h 134416"/>
                  <a:gd name="connsiteX2" fmla="*/ 27726 w 62713"/>
                  <a:gd name="connsiteY2" fmla="*/ 119575 h 134416"/>
                  <a:gd name="connsiteX3" fmla="*/ 27680 w 62713"/>
                  <a:gd name="connsiteY3" fmla="*/ 119398 h 134416"/>
                  <a:gd name="connsiteX4" fmla="*/ 58256 w 62713"/>
                  <a:gd name="connsiteY4" fmla="*/ 20612 h 134416"/>
                  <a:gd name="connsiteX5" fmla="*/ 59165 w 62713"/>
                  <a:gd name="connsiteY5" fmla="*/ 4096 h 134416"/>
                  <a:gd name="connsiteX6" fmla="*/ 58648 w 62713"/>
                  <a:gd name="connsiteY6" fmla="*/ 3560 h 134416"/>
                  <a:gd name="connsiteX7" fmla="*/ 40747 w 62713"/>
                  <a:gd name="connsiteY7" fmla="*/ 3168 h 134416"/>
                  <a:gd name="connsiteX8" fmla="*/ 39440 w 62713"/>
                  <a:gd name="connsiteY8" fmla="*/ 4540 h 134416"/>
                  <a:gd name="connsiteX9" fmla="*/ 3310 w 62713"/>
                  <a:gd name="connsiteY9" fmla="*/ 125932 h 134416"/>
                  <a:gd name="connsiteX10" fmla="*/ 15593 w 62713"/>
                  <a:gd name="connsiteY10" fmla="*/ 134229 h 134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713" h="134416">
                    <a:moveTo>
                      <a:pt x="15593" y="134229"/>
                    </a:moveTo>
                    <a:lnTo>
                      <a:pt x="18925" y="134229"/>
                    </a:lnTo>
                    <a:cubicBezTo>
                      <a:pt x="25400" y="132615"/>
                      <a:pt x="29340" y="126049"/>
                      <a:pt x="27726" y="119575"/>
                    </a:cubicBezTo>
                    <a:cubicBezTo>
                      <a:pt x="27713" y="119516"/>
                      <a:pt x="27693" y="119457"/>
                      <a:pt x="27680" y="119398"/>
                    </a:cubicBezTo>
                    <a:cubicBezTo>
                      <a:pt x="13110" y="69613"/>
                      <a:pt x="57799" y="21396"/>
                      <a:pt x="58256" y="20612"/>
                    </a:cubicBezTo>
                    <a:cubicBezTo>
                      <a:pt x="63065" y="16300"/>
                      <a:pt x="63470" y="8911"/>
                      <a:pt x="59165" y="4096"/>
                    </a:cubicBezTo>
                    <a:cubicBezTo>
                      <a:pt x="58995" y="3913"/>
                      <a:pt x="58825" y="3736"/>
                      <a:pt x="58648" y="3560"/>
                    </a:cubicBezTo>
                    <a:cubicBezTo>
                      <a:pt x="53722" y="-1281"/>
                      <a:pt x="45882" y="-1451"/>
                      <a:pt x="40747" y="3168"/>
                    </a:cubicBezTo>
                    <a:cubicBezTo>
                      <a:pt x="40276" y="3592"/>
                      <a:pt x="39845" y="4050"/>
                      <a:pt x="39440" y="4540"/>
                    </a:cubicBezTo>
                    <a:cubicBezTo>
                      <a:pt x="37284" y="6892"/>
                      <a:pt x="-14984" y="63341"/>
                      <a:pt x="3310" y="125932"/>
                    </a:cubicBezTo>
                    <a:cubicBezTo>
                      <a:pt x="5290" y="130976"/>
                      <a:pt x="10177" y="134275"/>
                      <a:pt x="15593" y="134229"/>
                    </a:cubicBezTo>
                    <a:close/>
                  </a:path>
                </a:pathLst>
              </a:custGeom>
              <a:noFill/>
              <a:ln w="1633" cap="rnd">
                <a:solidFill>
                  <a:srgbClr val="263238"/>
                </a:solidFill>
                <a:prstDash val="solid"/>
                <a:round/>
              </a:ln>
            </p:spPr>
            <p:txBody>
              <a:bodyPr rtlCol="0" anchor="ctr"/>
              <a:lstStyle/>
              <a:p>
                <a:endParaRPr lang="zh-CN" altLang="en-US"/>
              </a:p>
            </p:txBody>
          </p:sp>
          <p:sp>
            <p:nvSpPr>
              <p:cNvPr id="90" name="iṣḻíḑê"/>
              <p:cNvSpPr/>
              <p:nvPr/>
            </p:nvSpPr>
            <p:spPr>
              <a:xfrm>
                <a:off x="6274965" y="5277036"/>
                <a:ext cx="53802" cy="134424"/>
              </a:xfrm>
              <a:custGeom>
                <a:avLst/>
                <a:gdLst>
                  <a:gd name="connsiteX0" fmla="*/ 15166 w 53802"/>
                  <a:gd name="connsiteY0" fmla="*/ 134229 h 134424"/>
                  <a:gd name="connsiteX1" fmla="*/ 18955 w 53802"/>
                  <a:gd name="connsiteY1" fmla="*/ 133510 h 134424"/>
                  <a:gd name="connsiteX2" fmla="*/ 26449 w 53802"/>
                  <a:gd name="connsiteY2" fmla="*/ 119078 h 134424"/>
                  <a:gd name="connsiteX3" fmla="*/ 26403 w 53802"/>
                  <a:gd name="connsiteY3" fmla="*/ 118941 h 134424"/>
                  <a:gd name="connsiteX4" fmla="*/ 26403 w 53802"/>
                  <a:gd name="connsiteY4" fmla="*/ 118549 h 134424"/>
                  <a:gd name="connsiteX5" fmla="*/ 50250 w 53802"/>
                  <a:gd name="connsiteY5" fmla="*/ 19632 h 134424"/>
                  <a:gd name="connsiteX6" fmla="*/ 49336 w 53802"/>
                  <a:gd name="connsiteY6" fmla="*/ 2841 h 134424"/>
                  <a:gd name="connsiteX7" fmla="*/ 32727 w 53802"/>
                  <a:gd name="connsiteY7" fmla="*/ 3696 h 134424"/>
                  <a:gd name="connsiteX8" fmla="*/ 32675 w 53802"/>
                  <a:gd name="connsiteY8" fmla="*/ 3755 h 134424"/>
                  <a:gd name="connsiteX9" fmla="*/ 31107 w 53802"/>
                  <a:gd name="connsiteY9" fmla="*/ 5977 h 134424"/>
                  <a:gd name="connsiteX10" fmla="*/ 4059 w 53802"/>
                  <a:gd name="connsiteY10" fmla="*/ 126454 h 134424"/>
                  <a:gd name="connsiteX11" fmla="*/ 15166 w 53802"/>
                  <a:gd name="connsiteY11" fmla="*/ 134229 h 134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802" h="134424">
                    <a:moveTo>
                      <a:pt x="15166" y="134229"/>
                    </a:moveTo>
                    <a:cubicBezTo>
                      <a:pt x="16466" y="134288"/>
                      <a:pt x="17766" y="134039"/>
                      <a:pt x="18955" y="133510"/>
                    </a:cubicBezTo>
                    <a:cubicBezTo>
                      <a:pt x="25012" y="131596"/>
                      <a:pt x="28363" y="125134"/>
                      <a:pt x="26449" y="119078"/>
                    </a:cubicBezTo>
                    <a:cubicBezTo>
                      <a:pt x="26436" y="119032"/>
                      <a:pt x="26416" y="118986"/>
                      <a:pt x="26403" y="118941"/>
                    </a:cubicBezTo>
                    <a:cubicBezTo>
                      <a:pt x="26403" y="118941"/>
                      <a:pt x="26403" y="118941"/>
                      <a:pt x="26403" y="118549"/>
                    </a:cubicBezTo>
                    <a:cubicBezTo>
                      <a:pt x="11638" y="75166"/>
                      <a:pt x="49924" y="20154"/>
                      <a:pt x="50250" y="19632"/>
                    </a:cubicBezTo>
                    <a:cubicBezTo>
                      <a:pt x="54563" y="14719"/>
                      <a:pt x="54157" y="7257"/>
                      <a:pt x="49336" y="2841"/>
                    </a:cubicBezTo>
                    <a:cubicBezTo>
                      <a:pt x="44514" y="-1511"/>
                      <a:pt x="37079" y="-1125"/>
                      <a:pt x="32727" y="3696"/>
                    </a:cubicBezTo>
                    <a:cubicBezTo>
                      <a:pt x="32708" y="3716"/>
                      <a:pt x="32695" y="3736"/>
                      <a:pt x="32675" y="3755"/>
                    </a:cubicBezTo>
                    <a:cubicBezTo>
                      <a:pt x="32081" y="4441"/>
                      <a:pt x="31551" y="5186"/>
                      <a:pt x="31107" y="5977"/>
                    </a:cubicBezTo>
                    <a:cubicBezTo>
                      <a:pt x="29213" y="8590"/>
                      <a:pt x="-14627" y="71311"/>
                      <a:pt x="4059" y="126454"/>
                    </a:cubicBezTo>
                    <a:cubicBezTo>
                      <a:pt x="5790" y="131099"/>
                      <a:pt x="10207" y="134190"/>
                      <a:pt x="15166" y="134229"/>
                    </a:cubicBezTo>
                    <a:close/>
                  </a:path>
                </a:pathLst>
              </a:custGeom>
              <a:solidFill>
                <a:srgbClr val="FFFFFF"/>
              </a:solidFill>
              <a:ln w="6531" cap="flat">
                <a:noFill/>
                <a:prstDash val="solid"/>
                <a:miter/>
              </a:ln>
            </p:spPr>
            <p:txBody>
              <a:bodyPr rtlCol="0" anchor="ctr"/>
              <a:lstStyle/>
              <a:p>
                <a:endParaRPr lang="zh-CN" altLang="en-US"/>
              </a:p>
            </p:txBody>
          </p:sp>
          <p:sp>
            <p:nvSpPr>
              <p:cNvPr id="91" name="í$ḷiḋè"/>
              <p:cNvSpPr/>
              <p:nvPr/>
            </p:nvSpPr>
            <p:spPr>
              <a:xfrm>
                <a:off x="6274965" y="5277036"/>
                <a:ext cx="53802" cy="134424"/>
              </a:xfrm>
              <a:custGeom>
                <a:avLst/>
                <a:gdLst>
                  <a:gd name="connsiteX0" fmla="*/ 15166 w 53802"/>
                  <a:gd name="connsiteY0" fmla="*/ 134229 h 134424"/>
                  <a:gd name="connsiteX1" fmla="*/ 18955 w 53802"/>
                  <a:gd name="connsiteY1" fmla="*/ 133510 h 134424"/>
                  <a:gd name="connsiteX2" fmla="*/ 26449 w 53802"/>
                  <a:gd name="connsiteY2" fmla="*/ 119078 h 134424"/>
                  <a:gd name="connsiteX3" fmla="*/ 26403 w 53802"/>
                  <a:gd name="connsiteY3" fmla="*/ 118941 h 134424"/>
                  <a:gd name="connsiteX4" fmla="*/ 26403 w 53802"/>
                  <a:gd name="connsiteY4" fmla="*/ 118549 h 134424"/>
                  <a:gd name="connsiteX5" fmla="*/ 50250 w 53802"/>
                  <a:gd name="connsiteY5" fmla="*/ 19632 h 134424"/>
                  <a:gd name="connsiteX6" fmla="*/ 49336 w 53802"/>
                  <a:gd name="connsiteY6" fmla="*/ 2841 h 134424"/>
                  <a:gd name="connsiteX7" fmla="*/ 32727 w 53802"/>
                  <a:gd name="connsiteY7" fmla="*/ 3696 h 134424"/>
                  <a:gd name="connsiteX8" fmla="*/ 32675 w 53802"/>
                  <a:gd name="connsiteY8" fmla="*/ 3755 h 134424"/>
                  <a:gd name="connsiteX9" fmla="*/ 31107 w 53802"/>
                  <a:gd name="connsiteY9" fmla="*/ 5977 h 134424"/>
                  <a:gd name="connsiteX10" fmla="*/ 4059 w 53802"/>
                  <a:gd name="connsiteY10" fmla="*/ 126454 h 134424"/>
                  <a:gd name="connsiteX11" fmla="*/ 15166 w 53802"/>
                  <a:gd name="connsiteY11" fmla="*/ 134229 h 134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802" h="134424">
                    <a:moveTo>
                      <a:pt x="15166" y="134229"/>
                    </a:moveTo>
                    <a:cubicBezTo>
                      <a:pt x="16466" y="134288"/>
                      <a:pt x="17766" y="134039"/>
                      <a:pt x="18955" y="133510"/>
                    </a:cubicBezTo>
                    <a:cubicBezTo>
                      <a:pt x="25012" y="131596"/>
                      <a:pt x="28363" y="125134"/>
                      <a:pt x="26449" y="119078"/>
                    </a:cubicBezTo>
                    <a:cubicBezTo>
                      <a:pt x="26436" y="119032"/>
                      <a:pt x="26416" y="118986"/>
                      <a:pt x="26403" y="118941"/>
                    </a:cubicBezTo>
                    <a:cubicBezTo>
                      <a:pt x="26403" y="118941"/>
                      <a:pt x="26403" y="118941"/>
                      <a:pt x="26403" y="118549"/>
                    </a:cubicBezTo>
                    <a:cubicBezTo>
                      <a:pt x="11638" y="75166"/>
                      <a:pt x="49924" y="20154"/>
                      <a:pt x="50250" y="19632"/>
                    </a:cubicBezTo>
                    <a:cubicBezTo>
                      <a:pt x="54563" y="14719"/>
                      <a:pt x="54157" y="7257"/>
                      <a:pt x="49336" y="2841"/>
                    </a:cubicBezTo>
                    <a:cubicBezTo>
                      <a:pt x="44514" y="-1511"/>
                      <a:pt x="37079" y="-1125"/>
                      <a:pt x="32727" y="3696"/>
                    </a:cubicBezTo>
                    <a:cubicBezTo>
                      <a:pt x="32708" y="3716"/>
                      <a:pt x="32695" y="3736"/>
                      <a:pt x="32675" y="3755"/>
                    </a:cubicBezTo>
                    <a:cubicBezTo>
                      <a:pt x="32081" y="4441"/>
                      <a:pt x="31551" y="5186"/>
                      <a:pt x="31107" y="5977"/>
                    </a:cubicBezTo>
                    <a:cubicBezTo>
                      <a:pt x="29213" y="8590"/>
                      <a:pt x="-14627" y="71311"/>
                      <a:pt x="4059" y="126454"/>
                    </a:cubicBezTo>
                    <a:cubicBezTo>
                      <a:pt x="5790" y="131099"/>
                      <a:pt x="10207" y="134190"/>
                      <a:pt x="15166" y="134229"/>
                    </a:cubicBezTo>
                    <a:close/>
                  </a:path>
                </a:pathLst>
              </a:custGeom>
              <a:noFill/>
              <a:ln w="1633" cap="rnd">
                <a:solidFill>
                  <a:srgbClr val="263238"/>
                </a:solidFill>
                <a:prstDash val="solid"/>
                <a:round/>
              </a:ln>
            </p:spPr>
            <p:txBody>
              <a:bodyPr rtlCol="0" anchor="ctr"/>
              <a:lstStyle/>
              <a:p>
                <a:endParaRPr lang="zh-CN" altLang="en-US"/>
              </a:p>
            </p:txBody>
          </p:sp>
          <p:sp>
            <p:nvSpPr>
              <p:cNvPr id="92" name="íSlîďe"/>
              <p:cNvSpPr/>
              <p:nvPr/>
            </p:nvSpPr>
            <p:spPr>
              <a:xfrm>
                <a:off x="6221132" y="5474180"/>
                <a:ext cx="98531" cy="71661"/>
              </a:xfrm>
              <a:custGeom>
                <a:avLst/>
                <a:gdLst>
                  <a:gd name="connsiteX0" fmla="*/ 13595 w 98531"/>
                  <a:gd name="connsiteY0" fmla="*/ 1832 h 71661"/>
                  <a:gd name="connsiteX1" fmla="*/ 80106 w 98531"/>
                  <a:gd name="connsiteY1" fmla="*/ 63769 h 71661"/>
                  <a:gd name="connsiteX2" fmla="*/ 13595 w 98531"/>
                  <a:gd name="connsiteY2" fmla="*/ 1832 h 71661"/>
                </a:gdLst>
                <a:ahLst/>
                <a:cxnLst>
                  <a:cxn ang="0">
                    <a:pos x="connsiteX0" y="connsiteY0"/>
                  </a:cxn>
                  <a:cxn ang="0">
                    <a:pos x="connsiteX1" y="connsiteY1"/>
                  </a:cxn>
                  <a:cxn ang="0">
                    <a:pos x="connsiteX2" y="connsiteY2"/>
                  </a:cxn>
                </a:cxnLst>
                <a:rect l="l" t="t" r="r" b="b"/>
                <a:pathLst>
                  <a:path w="98531" h="71661">
                    <a:moveTo>
                      <a:pt x="13595" y="1832"/>
                    </a:moveTo>
                    <a:cubicBezTo>
                      <a:pt x="-26782" y="13527"/>
                      <a:pt x="26662" y="96829"/>
                      <a:pt x="80106" y="63769"/>
                    </a:cubicBezTo>
                    <a:cubicBezTo>
                      <a:pt x="133550" y="30710"/>
                      <a:pt x="53841" y="-9732"/>
                      <a:pt x="13595" y="1832"/>
                    </a:cubicBezTo>
                    <a:close/>
                  </a:path>
                </a:pathLst>
              </a:custGeom>
              <a:solidFill>
                <a:srgbClr val="FFFFFF"/>
              </a:solidFill>
              <a:ln w="6531" cap="flat">
                <a:noFill/>
                <a:prstDash val="solid"/>
                <a:miter/>
              </a:ln>
            </p:spPr>
            <p:txBody>
              <a:bodyPr rtlCol="0" anchor="ctr"/>
              <a:lstStyle/>
              <a:p>
                <a:endParaRPr lang="zh-CN" altLang="en-US"/>
              </a:p>
            </p:txBody>
          </p:sp>
          <p:sp>
            <p:nvSpPr>
              <p:cNvPr id="93" name="îṥľiḓe"/>
              <p:cNvSpPr/>
              <p:nvPr/>
            </p:nvSpPr>
            <p:spPr>
              <a:xfrm>
                <a:off x="6221132" y="5474180"/>
                <a:ext cx="98531" cy="71661"/>
              </a:xfrm>
              <a:custGeom>
                <a:avLst/>
                <a:gdLst>
                  <a:gd name="connsiteX0" fmla="*/ 13595 w 98531"/>
                  <a:gd name="connsiteY0" fmla="*/ 1832 h 71661"/>
                  <a:gd name="connsiteX1" fmla="*/ 80106 w 98531"/>
                  <a:gd name="connsiteY1" fmla="*/ 63769 h 71661"/>
                  <a:gd name="connsiteX2" fmla="*/ 13595 w 98531"/>
                  <a:gd name="connsiteY2" fmla="*/ 1832 h 71661"/>
                </a:gdLst>
                <a:ahLst/>
                <a:cxnLst>
                  <a:cxn ang="0">
                    <a:pos x="connsiteX0" y="connsiteY0"/>
                  </a:cxn>
                  <a:cxn ang="0">
                    <a:pos x="connsiteX1" y="connsiteY1"/>
                  </a:cxn>
                  <a:cxn ang="0">
                    <a:pos x="connsiteX2" y="connsiteY2"/>
                  </a:cxn>
                </a:cxnLst>
                <a:rect l="l" t="t" r="r" b="b"/>
                <a:pathLst>
                  <a:path w="98531" h="71661">
                    <a:moveTo>
                      <a:pt x="13595" y="1832"/>
                    </a:moveTo>
                    <a:cubicBezTo>
                      <a:pt x="-26782" y="13527"/>
                      <a:pt x="26662" y="96829"/>
                      <a:pt x="80106" y="63769"/>
                    </a:cubicBezTo>
                    <a:cubicBezTo>
                      <a:pt x="133550" y="30710"/>
                      <a:pt x="53841" y="-9732"/>
                      <a:pt x="13595" y="1832"/>
                    </a:cubicBezTo>
                    <a:close/>
                  </a:path>
                </a:pathLst>
              </a:custGeom>
              <a:noFill/>
              <a:ln w="1633" cap="rnd">
                <a:solidFill>
                  <a:srgbClr val="263238"/>
                </a:solidFill>
                <a:prstDash val="solid"/>
                <a:round/>
              </a:ln>
            </p:spPr>
            <p:txBody>
              <a:bodyPr rtlCol="0" anchor="ctr"/>
              <a:lstStyle/>
              <a:p>
                <a:endParaRPr lang="zh-CN" altLang="en-US"/>
              </a:p>
            </p:txBody>
          </p:sp>
          <p:sp>
            <p:nvSpPr>
              <p:cNvPr id="94" name="ïṣļíḓê"/>
              <p:cNvSpPr/>
              <p:nvPr/>
            </p:nvSpPr>
            <p:spPr>
              <a:xfrm>
                <a:off x="4984395" y="5044075"/>
                <a:ext cx="1729540" cy="483856"/>
              </a:xfrm>
              <a:custGeom>
                <a:avLst/>
                <a:gdLst>
                  <a:gd name="connsiteX0" fmla="*/ 1728974 w 1729540"/>
                  <a:gd name="connsiteY0" fmla="*/ -187 h 483856"/>
                  <a:gd name="connsiteX1" fmla="*/ 1299333 w 1729540"/>
                  <a:gd name="connsiteY1" fmla="*/ 263243 h 483856"/>
                  <a:gd name="connsiteX2" fmla="*/ 1184148 w 1729540"/>
                  <a:gd name="connsiteY2" fmla="*/ 414166 h 483856"/>
                  <a:gd name="connsiteX3" fmla="*/ 1025058 w 1729540"/>
                  <a:gd name="connsiteY3" fmla="*/ 465453 h 483856"/>
                  <a:gd name="connsiteX4" fmla="*/ 848262 w 1729540"/>
                  <a:gd name="connsiteY4" fmla="*/ 442979 h 483856"/>
                  <a:gd name="connsiteX5" fmla="*/ 794557 w 1729540"/>
                  <a:gd name="connsiteY5" fmla="*/ 472967 h 483856"/>
                  <a:gd name="connsiteX6" fmla="*/ 724649 w 1729540"/>
                  <a:gd name="connsiteY6" fmla="*/ 425207 h 483856"/>
                  <a:gd name="connsiteX7" fmla="*/ -567 w 1729540"/>
                  <a:gd name="connsiteY7" fmla="*/ 239134 h 483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29540" h="483856">
                    <a:moveTo>
                      <a:pt x="1728974" y="-187"/>
                    </a:moveTo>
                    <a:cubicBezTo>
                      <a:pt x="1666841" y="87166"/>
                      <a:pt x="1482466" y="183730"/>
                      <a:pt x="1299333" y="263243"/>
                    </a:cubicBezTo>
                    <a:cubicBezTo>
                      <a:pt x="1266614" y="317640"/>
                      <a:pt x="1227981" y="368255"/>
                      <a:pt x="1184148" y="414166"/>
                    </a:cubicBezTo>
                    <a:cubicBezTo>
                      <a:pt x="1071119" y="530723"/>
                      <a:pt x="1025058" y="465453"/>
                      <a:pt x="1025058" y="465453"/>
                    </a:cubicBezTo>
                    <a:cubicBezTo>
                      <a:pt x="1025058" y="465453"/>
                      <a:pt x="953647" y="457352"/>
                      <a:pt x="848262" y="442979"/>
                    </a:cubicBezTo>
                    <a:cubicBezTo>
                      <a:pt x="839285" y="464049"/>
                      <a:pt x="817202" y="476378"/>
                      <a:pt x="794557" y="472967"/>
                    </a:cubicBezTo>
                    <a:cubicBezTo>
                      <a:pt x="781490" y="470811"/>
                      <a:pt x="754311" y="451210"/>
                      <a:pt x="724649" y="425207"/>
                    </a:cubicBezTo>
                    <a:cubicBezTo>
                      <a:pt x="458410" y="384831"/>
                      <a:pt x="97109" y="317536"/>
                      <a:pt x="-567" y="239134"/>
                    </a:cubicBezTo>
                  </a:path>
                </a:pathLst>
              </a:custGeom>
              <a:solidFill>
                <a:srgbClr val="557FF6"/>
              </a:solidFill>
              <a:ln w="6531" cap="flat">
                <a:noFill/>
                <a:prstDash val="solid"/>
                <a:miter/>
              </a:ln>
            </p:spPr>
            <p:txBody>
              <a:bodyPr rtlCol="0" anchor="ctr"/>
              <a:lstStyle/>
              <a:p>
                <a:endParaRPr lang="zh-CN" altLang="en-US"/>
              </a:p>
            </p:txBody>
          </p:sp>
          <p:sp>
            <p:nvSpPr>
              <p:cNvPr id="95" name="ïśḻidê"/>
              <p:cNvSpPr/>
              <p:nvPr/>
            </p:nvSpPr>
            <p:spPr>
              <a:xfrm>
                <a:off x="4984329" y="5044075"/>
                <a:ext cx="1729606" cy="483856"/>
              </a:xfrm>
              <a:custGeom>
                <a:avLst/>
                <a:gdLst>
                  <a:gd name="connsiteX0" fmla="*/ 1729040 w 1729606"/>
                  <a:gd name="connsiteY0" fmla="*/ -187 h 483856"/>
                  <a:gd name="connsiteX1" fmla="*/ 1299399 w 1729606"/>
                  <a:gd name="connsiteY1" fmla="*/ 263243 h 483856"/>
                  <a:gd name="connsiteX2" fmla="*/ 1184214 w 1729606"/>
                  <a:gd name="connsiteY2" fmla="*/ 414166 h 483856"/>
                  <a:gd name="connsiteX3" fmla="*/ 1025124 w 1729606"/>
                  <a:gd name="connsiteY3" fmla="*/ 465453 h 483856"/>
                  <a:gd name="connsiteX4" fmla="*/ 848328 w 1729606"/>
                  <a:gd name="connsiteY4" fmla="*/ 442979 h 483856"/>
                  <a:gd name="connsiteX5" fmla="*/ 794622 w 1729606"/>
                  <a:gd name="connsiteY5" fmla="*/ 472967 h 483856"/>
                  <a:gd name="connsiteX6" fmla="*/ 724649 w 1729606"/>
                  <a:gd name="connsiteY6" fmla="*/ 425207 h 483856"/>
                  <a:gd name="connsiteX7" fmla="*/ -567 w 1729606"/>
                  <a:gd name="connsiteY7" fmla="*/ 239134 h 483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29606" h="483856">
                    <a:moveTo>
                      <a:pt x="1729040" y="-187"/>
                    </a:moveTo>
                    <a:cubicBezTo>
                      <a:pt x="1666906" y="87166"/>
                      <a:pt x="1482532" y="183730"/>
                      <a:pt x="1299399" y="263243"/>
                    </a:cubicBezTo>
                    <a:cubicBezTo>
                      <a:pt x="1266679" y="317640"/>
                      <a:pt x="1228047" y="368255"/>
                      <a:pt x="1184214" y="414166"/>
                    </a:cubicBezTo>
                    <a:cubicBezTo>
                      <a:pt x="1071185" y="530723"/>
                      <a:pt x="1025124" y="465453"/>
                      <a:pt x="1025124" y="465453"/>
                    </a:cubicBezTo>
                    <a:cubicBezTo>
                      <a:pt x="1025124" y="465453"/>
                      <a:pt x="953712" y="457352"/>
                      <a:pt x="848328" y="442979"/>
                    </a:cubicBezTo>
                    <a:cubicBezTo>
                      <a:pt x="839351" y="464049"/>
                      <a:pt x="817268" y="476378"/>
                      <a:pt x="794622" y="472967"/>
                    </a:cubicBezTo>
                    <a:cubicBezTo>
                      <a:pt x="781556" y="470811"/>
                      <a:pt x="754376" y="451210"/>
                      <a:pt x="724649" y="425207"/>
                    </a:cubicBezTo>
                    <a:cubicBezTo>
                      <a:pt x="458475" y="384831"/>
                      <a:pt x="97435" y="317536"/>
                      <a:pt x="-567" y="239134"/>
                    </a:cubicBezTo>
                  </a:path>
                </a:pathLst>
              </a:custGeom>
              <a:noFill/>
              <a:ln w="1633" cap="rnd">
                <a:solidFill>
                  <a:srgbClr val="263238"/>
                </a:solidFill>
                <a:prstDash val="solid"/>
                <a:round/>
              </a:ln>
            </p:spPr>
            <p:txBody>
              <a:bodyPr rtlCol="0" anchor="ctr"/>
              <a:lstStyle/>
              <a:p>
                <a:endParaRPr lang="zh-CN" altLang="en-US"/>
              </a:p>
            </p:txBody>
          </p:sp>
          <p:sp>
            <p:nvSpPr>
              <p:cNvPr id="96" name="îṩļîḋê"/>
              <p:cNvSpPr/>
              <p:nvPr/>
            </p:nvSpPr>
            <p:spPr>
              <a:xfrm>
                <a:off x="5083181" y="4829073"/>
                <a:ext cx="1209405" cy="474903"/>
              </a:xfrm>
              <a:custGeom>
                <a:avLst/>
                <a:gdLst>
                  <a:gd name="connsiteX0" fmla="*/ -567 w 1209405"/>
                  <a:gd name="connsiteY0" fmla="*/ 48407 h 474903"/>
                  <a:gd name="connsiteX1" fmla="*/ 188904 w 1209405"/>
                  <a:gd name="connsiteY1" fmla="*/ 2673 h 474903"/>
                  <a:gd name="connsiteX2" fmla="*/ 619133 w 1209405"/>
                  <a:gd name="connsiteY2" fmla="*/ 188158 h 474903"/>
                  <a:gd name="connsiteX3" fmla="*/ 1053871 w 1209405"/>
                  <a:gd name="connsiteY3" fmla="*/ 405265 h 474903"/>
                  <a:gd name="connsiteX4" fmla="*/ 1187284 w 1209405"/>
                  <a:gd name="connsiteY4" fmla="*/ 405265 h 474903"/>
                  <a:gd name="connsiteX5" fmla="*/ 1199959 w 1209405"/>
                  <a:gd name="connsiteY5" fmla="*/ 474716 h 474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9405" h="474903">
                    <a:moveTo>
                      <a:pt x="-567" y="48407"/>
                    </a:moveTo>
                    <a:cubicBezTo>
                      <a:pt x="45690" y="-1966"/>
                      <a:pt x="91947" y="-4253"/>
                      <a:pt x="188904" y="2673"/>
                    </a:cubicBezTo>
                    <a:cubicBezTo>
                      <a:pt x="188904" y="2673"/>
                      <a:pt x="442338" y="82773"/>
                      <a:pt x="619133" y="188158"/>
                    </a:cubicBezTo>
                    <a:cubicBezTo>
                      <a:pt x="795929" y="293543"/>
                      <a:pt x="1053871" y="405265"/>
                      <a:pt x="1053871" y="405265"/>
                    </a:cubicBezTo>
                    <a:cubicBezTo>
                      <a:pt x="1053871" y="405265"/>
                      <a:pt x="1132272" y="382725"/>
                      <a:pt x="1187284" y="405265"/>
                    </a:cubicBezTo>
                    <a:cubicBezTo>
                      <a:pt x="1187284" y="405265"/>
                      <a:pt x="1225701" y="408206"/>
                      <a:pt x="1199959" y="474716"/>
                    </a:cubicBezTo>
                  </a:path>
                </a:pathLst>
              </a:custGeom>
              <a:noFill/>
              <a:ln w="1633" cap="rnd">
                <a:solidFill>
                  <a:srgbClr val="263238"/>
                </a:solidFill>
                <a:prstDash val="solid"/>
                <a:round/>
              </a:ln>
            </p:spPr>
            <p:txBody>
              <a:bodyPr rtlCol="0" anchor="ctr"/>
              <a:lstStyle/>
              <a:p>
                <a:endParaRPr lang="zh-CN" altLang="en-US"/>
              </a:p>
            </p:txBody>
          </p:sp>
          <p:sp>
            <p:nvSpPr>
              <p:cNvPr id="97" name="iṩḷídé"/>
              <p:cNvSpPr/>
              <p:nvPr/>
            </p:nvSpPr>
            <p:spPr>
              <a:xfrm>
                <a:off x="4966689" y="5178468"/>
                <a:ext cx="107541" cy="134393"/>
              </a:xfrm>
              <a:custGeom>
                <a:avLst/>
                <a:gdLst>
                  <a:gd name="connsiteX0" fmla="*/ -566 w 107541"/>
                  <a:gd name="connsiteY0" fmla="*/ -187 h 134393"/>
                  <a:gd name="connsiteX1" fmla="*/ 106975 w 107541"/>
                  <a:gd name="connsiteY1" fmla="*/ 134207 h 134393"/>
                </a:gdLst>
                <a:ahLst/>
                <a:cxnLst>
                  <a:cxn ang="0">
                    <a:pos x="connsiteX0" y="connsiteY0"/>
                  </a:cxn>
                  <a:cxn ang="0">
                    <a:pos x="connsiteX1" y="connsiteY1"/>
                  </a:cxn>
                </a:cxnLst>
                <a:rect l="l" t="t" r="r" b="b"/>
                <a:pathLst>
                  <a:path w="107541" h="134393">
                    <a:moveTo>
                      <a:pt x="-566" y="-187"/>
                    </a:moveTo>
                    <a:cubicBezTo>
                      <a:pt x="-566" y="-187"/>
                      <a:pt x="-1873" y="79260"/>
                      <a:pt x="106975" y="134207"/>
                    </a:cubicBezTo>
                  </a:path>
                </a:pathLst>
              </a:custGeom>
              <a:noFill/>
              <a:ln w="1633" cap="rnd">
                <a:solidFill>
                  <a:srgbClr val="263238"/>
                </a:solidFill>
                <a:prstDash val="solid"/>
                <a:round/>
              </a:ln>
            </p:spPr>
            <p:txBody>
              <a:bodyPr rtlCol="0" anchor="ctr"/>
              <a:lstStyle/>
              <a:p>
                <a:endParaRPr lang="zh-CN" altLang="en-US"/>
              </a:p>
            </p:txBody>
          </p:sp>
          <p:sp>
            <p:nvSpPr>
              <p:cNvPr id="98" name="ïšḷíḍè"/>
              <p:cNvSpPr/>
              <p:nvPr/>
            </p:nvSpPr>
            <p:spPr>
              <a:xfrm>
                <a:off x="5880395" y="4855911"/>
                <a:ext cx="304851" cy="260032"/>
              </a:xfrm>
              <a:custGeom>
                <a:avLst/>
                <a:gdLst>
                  <a:gd name="connsiteX0" fmla="*/ 304285 w 304851"/>
                  <a:gd name="connsiteY0" fmla="*/ -187 h 260032"/>
                  <a:gd name="connsiteX1" fmla="*/ 97435 w 304851"/>
                  <a:gd name="connsiteY1" fmla="*/ 208884 h 260032"/>
                  <a:gd name="connsiteX2" fmla="*/ -567 w 304851"/>
                  <a:gd name="connsiteY2" fmla="*/ 259845 h 260032"/>
                </a:gdLst>
                <a:ahLst/>
                <a:cxnLst>
                  <a:cxn ang="0">
                    <a:pos x="connsiteX0" y="connsiteY0"/>
                  </a:cxn>
                  <a:cxn ang="0">
                    <a:pos x="connsiteX1" y="connsiteY1"/>
                  </a:cxn>
                  <a:cxn ang="0">
                    <a:pos x="connsiteX2" y="connsiteY2"/>
                  </a:cxn>
                </a:cxnLst>
                <a:rect l="l" t="t" r="r" b="b"/>
                <a:pathLst>
                  <a:path w="304851" h="260032">
                    <a:moveTo>
                      <a:pt x="304285" y="-187"/>
                    </a:moveTo>
                    <a:cubicBezTo>
                      <a:pt x="304285" y="-187"/>
                      <a:pt x="132063" y="125647"/>
                      <a:pt x="97435" y="208884"/>
                    </a:cubicBezTo>
                    <a:cubicBezTo>
                      <a:pt x="63481" y="223271"/>
                      <a:pt x="30709" y="240310"/>
                      <a:pt x="-567" y="259845"/>
                    </a:cubicBezTo>
                  </a:path>
                </a:pathLst>
              </a:custGeom>
              <a:noFill/>
              <a:ln w="1633" cap="rnd">
                <a:solidFill>
                  <a:srgbClr val="263238"/>
                </a:solidFill>
                <a:prstDash val="solid"/>
                <a:round/>
              </a:ln>
            </p:spPr>
            <p:txBody>
              <a:bodyPr rtlCol="0" anchor="ctr"/>
              <a:lstStyle/>
              <a:p>
                <a:endParaRPr lang="zh-CN" altLang="en-US"/>
              </a:p>
            </p:txBody>
          </p:sp>
          <p:sp>
            <p:nvSpPr>
              <p:cNvPr id="99" name="ïSḻîḍê"/>
              <p:cNvSpPr/>
              <p:nvPr/>
            </p:nvSpPr>
            <p:spPr>
              <a:xfrm>
                <a:off x="5952275" y="4963451"/>
                <a:ext cx="18020" cy="107541"/>
              </a:xfrm>
              <a:custGeom>
                <a:avLst/>
                <a:gdLst>
                  <a:gd name="connsiteX0" fmla="*/ 17454 w 18020"/>
                  <a:gd name="connsiteY0" fmla="*/ -187 h 107541"/>
                  <a:gd name="connsiteX1" fmla="*/ 7588 w 18020"/>
                  <a:gd name="connsiteY1" fmla="*/ 107354 h 107541"/>
                </a:gdLst>
                <a:ahLst/>
                <a:cxnLst>
                  <a:cxn ang="0">
                    <a:pos x="connsiteX0" y="connsiteY0"/>
                  </a:cxn>
                  <a:cxn ang="0">
                    <a:pos x="connsiteX1" y="connsiteY1"/>
                  </a:cxn>
                </a:cxnLst>
                <a:rect l="l" t="t" r="r" b="b"/>
                <a:pathLst>
                  <a:path w="18020" h="107541">
                    <a:moveTo>
                      <a:pt x="17454" y="-187"/>
                    </a:moveTo>
                    <a:cubicBezTo>
                      <a:pt x="-2428" y="32160"/>
                      <a:pt x="-6073" y="71930"/>
                      <a:pt x="7588" y="107354"/>
                    </a:cubicBezTo>
                  </a:path>
                </a:pathLst>
              </a:custGeom>
              <a:noFill/>
              <a:ln w="1633" cap="rnd">
                <a:solidFill>
                  <a:srgbClr val="263238"/>
                </a:solidFill>
                <a:prstDash val="solid"/>
                <a:round/>
              </a:ln>
            </p:spPr>
            <p:txBody>
              <a:bodyPr rtlCol="0" anchor="ctr"/>
              <a:lstStyle/>
              <a:p>
                <a:endParaRPr lang="zh-CN" altLang="en-US"/>
              </a:p>
            </p:txBody>
          </p:sp>
          <p:sp>
            <p:nvSpPr>
              <p:cNvPr id="100" name="i$ľïḋê"/>
              <p:cNvSpPr/>
              <p:nvPr/>
            </p:nvSpPr>
            <p:spPr>
              <a:xfrm>
                <a:off x="5979247" y="4873812"/>
                <a:ext cx="26917" cy="44819"/>
              </a:xfrm>
              <a:custGeom>
                <a:avLst/>
                <a:gdLst>
                  <a:gd name="connsiteX0" fmla="*/ 26351 w 26917"/>
                  <a:gd name="connsiteY0" fmla="*/ -187 h 44819"/>
                  <a:gd name="connsiteX1" fmla="*/ -567 w 26917"/>
                  <a:gd name="connsiteY1" fmla="*/ 44633 h 44819"/>
                </a:gdLst>
                <a:ahLst/>
                <a:cxnLst>
                  <a:cxn ang="0">
                    <a:pos x="connsiteX0" y="connsiteY0"/>
                  </a:cxn>
                  <a:cxn ang="0">
                    <a:pos x="connsiteX1" y="connsiteY1"/>
                  </a:cxn>
                </a:cxnLst>
                <a:rect l="l" t="t" r="r" b="b"/>
                <a:pathLst>
                  <a:path w="26917" h="44819">
                    <a:moveTo>
                      <a:pt x="26351" y="-187"/>
                    </a:moveTo>
                    <a:cubicBezTo>
                      <a:pt x="16133" y="13971"/>
                      <a:pt x="7130" y="28959"/>
                      <a:pt x="-567" y="44633"/>
                    </a:cubicBezTo>
                  </a:path>
                </a:pathLst>
              </a:custGeom>
              <a:noFill/>
              <a:ln w="1633" cap="rnd">
                <a:solidFill>
                  <a:srgbClr val="263238"/>
                </a:solidFill>
                <a:prstDash val="solid"/>
                <a:round/>
              </a:ln>
            </p:spPr>
            <p:txBody>
              <a:bodyPr rtlCol="0" anchor="ctr"/>
              <a:lstStyle/>
              <a:p>
                <a:endParaRPr lang="zh-CN" altLang="en-US"/>
              </a:p>
            </p:txBody>
          </p:sp>
          <p:sp>
            <p:nvSpPr>
              <p:cNvPr id="101" name="íṡḻídè"/>
              <p:cNvSpPr/>
              <p:nvPr/>
            </p:nvSpPr>
            <p:spPr>
              <a:xfrm>
                <a:off x="5683346" y="4864862"/>
                <a:ext cx="71868" cy="143736"/>
              </a:xfrm>
              <a:custGeom>
                <a:avLst/>
                <a:gdLst>
                  <a:gd name="connsiteX0" fmla="*/ 71301 w 71868"/>
                  <a:gd name="connsiteY0" fmla="*/ -187 h 143736"/>
                  <a:gd name="connsiteX1" fmla="*/ -567 w 71868"/>
                  <a:gd name="connsiteY1" fmla="*/ 143549 h 143736"/>
                </a:gdLst>
                <a:ahLst/>
                <a:cxnLst>
                  <a:cxn ang="0">
                    <a:pos x="connsiteX0" y="connsiteY0"/>
                  </a:cxn>
                  <a:cxn ang="0">
                    <a:pos x="connsiteX1" y="connsiteY1"/>
                  </a:cxn>
                </a:cxnLst>
                <a:rect l="l" t="t" r="r" b="b"/>
                <a:pathLst>
                  <a:path w="71868" h="143736">
                    <a:moveTo>
                      <a:pt x="71301" y="-187"/>
                    </a:moveTo>
                    <a:cubicBezTo>
                      <a:pt x="71301" y="-187"/>
                      <a:pt x="13872" y="78999"/>
                      <a:pt x="-567" y="143549"/>
                    </a:cubicBezTo>
                  </a:path>
                </a:pathLst>
              </a:custGeom>
              <a:noFill/>
              <a:ln w="1633" cap="rnd">
                <a:solidFill>
                  <a:srgbClr val="263238"/>
                </a:solidFill>
                <a:prstDash val="solid"/>
                <a:round/>
              </a:ln>
            </p:spPr>
            <p:txBody>
              <a:bodyPr rtlCol="0" anchor="ctr"/>
              <a:lstStyle/>
              <a:p>
                <a:endParaRPr lang="zh-CN" altLang="en-US"/>
              </a:p>
            </p:txBody>
          </p:sp>
          <p:sp>
            <p:nvSpPr>
              <p:cNvPr id="102" name="îşlîďè"/>
              <p:cNvSpPr/>
              <p:nvPr/>
            </p:nvSpPr>
            <p:spPr>
              <a:xfrm>
                <a:off x="5369870" y="5330829"/>
                <a:ext cx="62721" cy="8950"/>
              </a:xfrm>
              <a:custGeom>
                <a:avLst/>
                <a:gdLst>
                  <a:gd name="connsiteX0" fmla="*/ 62155 w 62721"/>
                  <a:gd name="connsiteY0" fmla="*/ 8764 h 8950"/>
                  <a:gd name="connsiteX1" fmla="*/ -567 w 62721"/>
                  <a:gd name="connsiteY1" fmla="*/ -187 h 8950"/>
                </a:gdLst>
                <a:ahLst/>
                <a:cxnLst>
                  <a:cxn ang="0">
                    <a:pos x="connsiteX0" y="connsiteY0"/>
                  </a:cxn>
                  <a:cxn ang="0">
                    <a:pos x="connsiteX1" y="connsiteY1"/>
                  </a:cxn>
                </a:cxnLst>
                <a:rect l="l" t="t" r="r" b="b"/>
                <a:pathLst>
                  <a:path w="62721" h="8950">
                    <a:moveTo>
                      <a:pt x="62155" y="8764"/>
                    </a:moveTo>
                    <a:cubicBezTo>
                      <a:pt x="41058" y="7313"/>
                      <a:pt x="20092" y="4321"/>
                      <a:pt x="-567" y="-187"/>
                    </a:cubicBezTo>
                  </a:path>
                </a:pathLst>
              </a:custGeom>
              <a:noFill/>
              <a:ln w="1633" cap="rnd">
                <a:solidFill>
                  <a:srgbClr val="263238"/>
                </a:solidFill>
                <a:prstDash val="solid"/>
                <a:round/>
              </a:ln>
            </p:spPr>
            <p:txBody>
              <a:bodyPr rtlCol="0" anchor="ctr"/>
              <a:lstStyle/>
              <a:p>
                <a:endParaRPr lang="zh-CN" altLang="en-US"/>
              </a:p>
            </p:txBody>
          </p:sp>
          <p:sp>
            <p:nvSpPr>
              <p:cNvPr id="103" name="íŝļïḍê"/>
              <p:cNvSpPr/>
              <p:nvPr/>
            </p:nvSpPr>
            <p:spPr>
              <a:xfrm>
                <a:off x="5477411" y="5286009"/>
                <a:ext cx="501770" cy="53770"/>
              </a:xfrm>
              <a:custGeom>
                <a:avLst/>
                <a:gdLst>
                  <a:gd name="connsiteX0" fmla="*/ 501204 w 501770"/>
                  <a:gd name="connsiteY0" fmla="*/ -187 h 53770"/>
                  <a:gd name="connsiteX1" fmla="*/ -567 w 501770"/>
                  <a:gd name="connsiteY1" fmla="*/ 53584 h 53770"/>
                </a:gdLst>
                <a:ahLst/>
                <a:cxnLst>
                  <a:cxn ang="0">
                    <a:pos x="connsiteX0" y="connsiteY0"/>
                  </a:cxn>
                  <a:cxn ang="0">
                    <a:pos x="connsiteX1" y="connsiteY1"/>
                  </a:cxn>
                </a:cxnLst>
                <a:rect l="l" t="t" r="r" b="b"/>
                <a:pathLst>
                  <a:path w="501770" h="53770">
                    <a:moveTo>
                      <a:pt x="501204" y="-187"/>
                    </a:moveTo>
                    <a:cubicBezTo>
                      <a:pt x="335548" y="30410"/>
                      <a:pt x="167807" y="48383"/>
                      <a:pt x="-567" y="53584"/>
                    </a:cubicBezTo>
                  </a:path>
                </a:pathLst>
              </a:custGeom>
              <a:noFill/>
              <a:ln w="1633" cap="rnd">
                <a:solidFill>
                  <a:srgbClr val="263238"/>
                </a:solidFill>
                <a:prstDash val="solid"/>
                <a:round/>
              </a:ln>
            </p:spPr>
            <p:txBody>
              <a:bodyPr rtlCol="0" anchor="ctr"/>
              <a:lstStyle/>
              <a:p>
                <a:endParaRPr lang="zh-CN" altLang="en-US"/>
              </a:p>
            </p:txBody>
          </p:sp>
          <p:sp>
            <p:nvSpPr>
              <p:cNvPr id="104" name="íṩḻíde"/>
              <p:cNvSpPr/>
              <p:nvPr/>
            </p:nvSpPr>
            <p:spPr>
              <a:xfrm>
                <a:off x="4800935" y="3991271"/>
                <a:ext cx="931868" cy="770688"/>
              </a:xfrm>
              <a:custGeom>
                <a:avLst/>
                <a:gdLst>
                  <a:gd name="connsiteX0" fmla="*/ -567 w 931868"/>
                  <a:gd name="connsiteY0" fmla="*/ 102976 h 770688"/>
                  <a:gd name="connsiteX1" fmla="*/ 68231 w 931868"/>
                  <a:gd name="connsiteY1" fmla="*/ 681058 h 770688"/>
                  <a:gd name="connsiteX2" fmla="*/ 275407 w 931868"/>
                  <a:gd name="connsiteY2" fmla="*/ 731301 h 770688"/>
                  <a:gd name="connsiteX3" fmla="*/ 878316 w 931868"/>
                  <a:gd name="connsiteY3" fmla="*/ 770502 h 770688"/>
                  <a:gd name="connsiteX4" fmla="*/ 931302 w 931868"/>
                  <a:gd name="connsiteY4" fmla="*/ 613698 h 770688"/>
                  <a:gd name="connsiteX5" fmla="*/ 553798 w 931868"/>
                  <a:gd name="connsiteY5" fmla="*/ 545031 h 770688"/>
                  <a:gd name="connsiteX6" fmla="*/ 285926 w 931868"/>
                  <a:gd name="connsiteY6" fmla="*/ 474927 h 770688"/>
                  <a:gd name="connsiteX7" fmla="*/ 308009 w 931868"/>
                  <a:gd name="connsiteY7" fmla="*/ 278204 h 770688"/>
                  <a:gd name="connsiteX8" fmla="*/ 308009 w 931868"/>
                  <a:gd name="connsiteY8" fmla="*/ -187 h 770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31868" h="770688">
                    <a:moveTo>
                      <a:pt x="-567" y="102976"/>
                    </a:moveTo>
                    <a:cubicBezTo>
                      <a:pt x="-567" y="102976"/>
                      <a:pt x="30990" y="649698"/>
                      <a:pt x="68231" y="681058"/>
                    </a:cubicBezTo>
                    <a:cubicBezTo>
                      <a:pt x="105471" y="712419"/>
                      <a:pt x="164207" y="722088"/>
                      <a:pt x="275407" y="731301"/>
                    </a:cubicBezTo>
                    <a:cubicBezTo>
                      <a:pt x="386607" y="740513"/>
                      <a:pt x="878316" y="770502"/>
                      <a:pt x="878316" y="770502"/>
                    </a:cubicBezTo>
                    <a:lnTo>
                      <a:pt x="931302" y="613698"/>
                    </a:lnTo>
                    <a:cubicBezTo>
                      <a:pt x="931302" y="613698"/>
                      <a:pt x="669963" y="587042"/>
                      <a:pt x="553798" y="545031"/>
                    </a:cubicBezTo>
                    <a:cubicBezTo>
                      <a:pt x="466282" y="515343"/>
                      <a:pt x="376767" y="491914"/>
                      <a:pt x="285926" y="474927"/>
                    </a:cubicBezTo>
                    <a:cubicBezTo>
                      <a:pt x="285926" y="474927"/>
                      <a:pt x="308009" y="337724"/>
                      <a:pt x="308009" y="278204"/>
                    </a:cubicBezTo>
                    <a:lnTo>
                      <a:pt x="308009" y="-187"/>
                    </a:lnTo>
                  </a:path>
                </a:pathLst>
              </a:custGeom>
              <a:solidFill>
                <a:srgbClr val="F49C92"/>
              </a:solidFill>
              <a:ln w="6531" cap="flat">
                <a:noFill/>
                <a:prstDash val="solid"/>
                <a:miter/>
              </a:ln>
            </p:spPr>
            <p:txBody>
              <a:bodyPr rtlCol="0" anchor="ctr"/>
              <a:lstStyle/>
              <a:p>
                <a:endParaRPr lang="zh-CN" altLang="en-US"/>
              </a:p>
            </p:txBody>
          </p:sp>
          <p:sp>
            <p:nvSpPr>
              <p:cNvPr id="105" name="ïṧḻîḍe"/>
              <p:cNvSpPr/>
              <p:nvPr/>
            </p:nvSpPr>
            <p:spPr>
              <a:xfrm>
                <a:off x="4765092" y="3489500"/>
                <a:ext cx="403197" cy="672098"/>
              </a:xfrm>
              <a:custGeom>
                <a:avLst/>
                <a:gdLst>
                  <a:gd name="connsiteX0" fmla="*/ 132102 w 403197"/>
                  <a:gd name="connsiteY0" fmla="*/ -187 h 672098"/>
                  <a:gd name="connsiteX1" fmla="*/ 16329 w 403197"/>
                  <a:gd name="connsiteY1" fmla="*/ 607426 h 672098"/>
                  <a:gd name="connsiteX2" fmla="*/ 33577 w 403197"/>
                  <a:gd name="connsiteY2" fmla="*/ 671911 h 672098"/>
                  <a:gd name="connsiteX3" fmla="*/ 325623 w 403197"/>
                  <a:gd name="connsiteY3" fmla="*/ 649175 h 672098"/>
                  <a:gd name="connsiteX4" fmla="*/ 394029 w 403197"/>
                  <a:gd name="connsiteY4" fmla="*/ 579593 h 672098"/>
                  <a:gd name="connsiteX5" fmla="*/ 347772 w 403197"/>
                  <a:gd name="connsiteY5" fmla="*/ 184579 h 672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197" h="672098">
                    <a:moveTo>
                      <a:pt x="132102" y="-187"/>
                    </a:moveTo>
                    <a:cubicBezTo>
                      <a:pt x="10187" y="73510"/>
                      <a:pt x="-25812" y="243773"/>
                      <a:pt x="16329" y="607426"/>
                    </a:cubicBezTo>
                    <a:cubicBezTo>
                      <a:pt x="16329" y="607426"/>
                      <a:pt x="-19671" y="650416"/>
                      <a:pt x="33577" y="671911"/>
                    </a:cubicBezTo>
                    <a:cubicBezTo>
                      <a:pt x="33577" y="671911"/>
                      <a:pt x="232979" y="598736"/>
                      <a:pt x="325623" y="649175"/>
                    </a:cubicBezTo>
                    <a:cubicBezTo>
                      <a:pt x="418268" y="699613"/>
                      <a:pt x="394029" y="579593"/>
                      <a:pt x="394029" y="579593"/>
                    </a:cubicBezTo>
                    <a:cubicBezTo>
                      <a:pt x="394029" y="579593"/>
                      <a:pt x="432184" y="245145"/>
                      <a:pt x="347772" y="184579"/>
                    </a:cubicBezTo>
                  </a:path>
                </a:pathLst>
              </a:custGeom>
              <a:solidFill>
                <a:srgbClr val="F1C649"/>
              </a:solidFill>
              <a:ln w="6531" cap="flat">
                <a:noFill/>
                <a:prstDash val="solid"/>
                <a:miter/>
              </a:ln>
            </p:spPr>
            <p:txBody>
              <a:bodyPr rtlCol="0" anchor="ctr"/>
              <a:lstStyle/>
              <a:p>
                <a:endParaRPr lang="zh-CN" altLang="en-US"/>
              </a:p>
            </p:txBody>
          </p:sp>
          <p:sp>
            <p:nvSpPr>
              <p:cNvPr id="106" name="íṡlïḓé"/>
              <p:cNvSpPr/>
              <p:nvPr/>
            </p:nvSpPr>
            <p:spPr>
              <a:xfrm>
                <a:off x="5119442" y="3628336"/>
                <a:ext cx="53413" cy="528688"/>
              </a:xfrm>
              <a:custGeom>
                <a:avLst/>
                <a:gdLst>
                  <a:gd name="connsiteX0" fmla="*/ -110 w 53413"/>
                  <a:gd name="connsiteY0" fmla="*/ -187 h 528688"/>
                  <a:gd name="connsiteX1" fmla="*/ 12957 w 53413"/>
                  <a:gd name="connsiteY1" fmla="*/ 422398 h 528688"/>
                  <a:gd name="connsiteX2" fmla="*/ 26024 w 53413"/>
                  <a:gd name="connsiteY2" fmla="*/ 497729 h 528688"/>
                  <a:gd name="connsiteX3" fmla="*/ -567 w 53413"/>
                  <a:gd name="connsiteY3" fmla="*/ 528502 h 528688"/>
                </a:gdLst>
                <a:ahLst/>
                <a:cxnLst>
                  <a:cxn ang="0">
                    <a:pos x="connsiteX0" y="connsiteY0"/>
                  </a:cxn>
                  <a:cxn ang="0">
                    <a:pos x="connsiteX1" y="connsiteY1"/>
                  </a:cxn>
                  <a:cxn ang="0">
                    <a:pos x="connsiteX2" y="connsiteY2"/>
                  </a:cxn>
                  <a:cxn ang="0">
                    <a:pos x="connsiteX3" y="connsiteY3"/>
                  </a:cxn>
                </a:cxnLst>
                <a:rect l="l" t="t" r="r" b="b"/>
                <a:pathLst>
                  <a:path w="53413" h="528688">
                    <a:moveTo>
                      <a:pt x="-110" y="-187"/>
                    </a:moveTo>
                    <a:cubicBezTo>
                      <a:pt x="-110" y="-187"/>
                      <a:pt x="109783" y="119637"/>
                      <a:pt x="12957" y="422398"/>
                    </a:cubicBezTo>
                    <a:cubicBezTo>
                      <a:pt x="19171" y="447153"/>
                      <a:pt x="23541" y="472327"/>
                      <a:pt x="26024" y="497729"/>
                    </a:cubicBezTo>
                    <a:cubicBezTo>
                      <a:pt x="26024" y="517983"/>
                      <a:pt x="-567" y="528502"/>
                      <a:pt x="-567" y="528502"/>
                    </a:cubicBezTo>
                  </a:path>
                </a:pathLst>
              </a:custGeom>
              <a:noFill/>
              <a:ln w="1633" cap="rnd">
                <a:solidFill>
                  <a:srgbClr val="263238"/>
                </a:solidFill>
                <a:prstDash val="solid"/>
                <a:round/>
              </a:ln>
            </p:spPr>
            <p:txBody>
              <a:bodyPr rtlCol="0" anchor="ctr"/>
              <a:lstStyle/>
              <a:p>
                <a:endParaRPr lang="zh-CN" altLang="en-US"/>
              </a:p>
            </p:txBody>
          </p:sp>
          <p:sp>
            <p:nvSpPr>
              <p:cNvPr id="107" name="îṡḷíḓè"/>
              <p:cNvSpPr/>
              <p:nvPr/>
            </p:nvSpPr>
            <p:spPr>
              <a:xfrm>
                <a:off x="5154853" y="3834467"/>
                <a:ext cx="98589" cy="206065"/>
              </a:xfrm>
              <a:custGeom>
                <a:avLst/>
                <a:gdLst>
                  <a:gd name="connsiteX0" fmla="*/ 98023 w 98589"/>
                  <a:gd name="connsiteY0" fmla="*/ -187 h 206065"/>
                  <a:gd name="connsiteX1" fmla="*/ -567 w 98589"/>
                  <a:gd name="connsiteY1" fmla="*/ 205879 h 206065"/>
                </a:gdLst>
                <a:ahLst/>
                <a:cxnLst>
                  <a:cxn ang="0">
                    <a:pos x="connsiteX0" y="connsiteY0"/>
                  </a:cxn>
                  <a:cxn ang="0">
                    <a:pos x="connsiteX1" y="connsiteY1"/>
                  </a:cxn>
                </a:cxnLst>
                <a:rect l="l" t="t" r="r" b="b"/>
                <a:pathLst>
                  <a:path w="98589" h="206065">
                    <a:moveTo>
                      <a:pt x="98023" y="-187"/>
                    </a:moveTo>
                    <a:cubicBezTo>
                      <a:pt x="98023" y="-187"/>
                      <a:pt x="89791" y="143549"/>
                      <a:pt x="-567" y="205879"/>
                    </a:cubicBezTo>
                  </a:path>
                </a:pathLst>
              </a:custGeom>
              <a:noFill/>
              <a:ln w="1633" cap="rnd">
                <a:solidFill>
                  <a:srgbClr val="263238"/>
                </a:solidFill>
                <a:prstDash val="solid"/>
                <a:round/>
              </a:ln>
            </p:spPr>
            <p:txBody>
              <a:bodyPr rtlCol="0" anchor="ctr"/>
              <a:lstStyle/>
              <a:p>
                <a:endParaRPr lang="zh-CN" altLang="en-US"/>
              </a:p>
            </p:txBody>
          </p:sp>
          <p:sp>
            <p:nvSpPr>
              <p:cNvPr id="108" name="iś1îḍê"/>
              <p:cNvSpPr/>
              <p:nvPr/>
            </p:nvSpPr>
            <p:spPr>
              <a:xfrm>
                <a:off x="5271660" y="4792993"/>
                <a:ext cx="1290247" cy="89835"/>
              </a:xfrm>
              <a:custGeom>
                <a:avLst/>
                <a:gdLst>
                  <a:gd name="connsiteX0" fmla="*/ 1237016 w 1290247"/>
                  <a:gd name="connsiteY0" fmla="*/ 89648 h 89835"/>
                  <a:gd name="connsiteX1" fmla="*/ 265096 w 1290247"/>
                  <a:gd name="connsiteY1" fmla="*/ 89648 h 89835"/>
                  <a:gd name="connsiteX2" fmla="*/ 199761 w 1290247"/>
                  <a:gd name="connsiteY2" fmla="*/ 80501 h 89835"/>
                  <a:gd name="connsiteX3" fmla="*/ 8723 w 1290247"/>
                  <a:gd name="connsiteY3" fmla="*/ 26339 h 89835"/>
                  <a:gd name="connsiteX4" fmla="*/ -555 w 1290247"/>
                  <a:gd name="connsiteY4" fmla="*/ 13272 h 89835"/>
                  <a:gd name="connsiteX5" fmla="*/ 11924 w 1290247"/>
                  <a:gd name="connsiteY5" fmla="*/ -187 h 89835"/>
                  <a:gd name="connsiteX6" fmla="*/ 1277327 w 1290247"/>
                  <a:gd name="connsiteY6" fmla="*/ -187 h 89835"/>
                  <a:gd name="connsiteX7" fmla="*/ 1289676 w 1290247"/>
                  <a:gd name="connsiteY7" fmla="*/ 13272 h 89835"/>
                  <a:gd name="connsiteX8" fmla="*/ 1289676 w 1290247"/>
                  <a:gd name="connsiteY8" fmla="*/ 32872 h 89835"/>
                  <a:gd name="connsiteX9" fmla="*/ 1237016 w 1290247"/>
                  <a:gd name="connsiteY9" fmla="*/ 89648 h 89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90247" h="89835">
                    <a:moveTo>
                      <a:pt x="1237016" y="89648"/>
                    </a:moveTo>
                    <a:lnTo>
                      <a:pt x="265096" y="89648"/>
                    </a:lnTo>
                    <a:cubicBezTo>
                      <a:pt x="242993" y="89681"/>
                      <a:pt x="221002" y="86597"/>
                      <a:pt x="199761" y="80501"/>
                    </a:cubicBezTo>
                    <a:lnTo>
                      <a:pt x="8723" y="26339"/>
                    </a:lnTo>
                    <a:cubicBezTo>
                      <a:pt x="3006" y="24614"/>
                      <a:pt x="-810" y="19237"/>
                      <a:pt x="-555" y="13272"/>
                    </a:cubicBezTo>
                    <a:cubicBezTo>
                      <a:pt x="-777" y="6131"/>
                      <a:pt x="4783" y="133"/>
                      <a:pt x="11924" y="-187"/>
                    </a:cubicBezTo>
                    <a:lnTo>
                      <a:pt x="1277327" y="-187"/>
                    </a:lnTo>
                    <a:cubicBezTo>
                      <a:pt x="1284449" y="198"/>
                      <a:pt x="1289872" y="6177"/>
                      <a:pt x="1289676" y="13272"/>
                    </a:cubicBezTo>
                    <a:lnTo>
                      <a:pt x="1289676" y="32872"/>
                    </a:lnTo>
                    <a:cubicBezTo>
                      <a:pt x="1289284" y="64298"/>
                      <a:pt x="1265828" y="89648"/>
                      <a:pt x="1237016" y="89648"/>
                    </a:cubicBezTo>
                    <a:close/>
                  </a:path>
                </a:pathLst>
              </a:custGeom>
              <a:solidFill>
                <a:srgbClr val="252530"/>
              </a:solidFill>
              <a:ln w="6531" cap="flat">
                <a:noFill/>
                <a:prstDash val="solid"/>
                <a:miter/>
              </a:ln>
            </p:spPr>
            <p:txBody>
              <a:bodyPr rtlCol="0" anchor="ctr"/>
              <a:lstStyle/>
              <a:p>
                <a:endParaRPr lang="zh-CN" altLang="en-US"/>
              </a:p>
            </p:txBody>
          </p:sp>
          <p:sp>
            <p:nvSpPr>
              <p:cNvPr id="109" name="í$ḷîḑê"/>
              <p:cNvSpPr/>
              <p:nvPr/>
            </p:nvSpPr>
            <p:spPr>
              <a:xfrm>
                <a:off x="5271660" y="4792993"/>
                <a:ext cx="1290247" cy="89835"/>
              </a:xfrm>
              <a:custGeom>
                <a:avLst/>
                <a:gdLst>
                  <a:gd name="connsiteX0" fmla="*/ 1237016 w 1290247"/>
                  <a:gd name="connsiteY0" fmla="*/ 89648 h 89835"/>
                  <a:gd name="connsiteX1" fmla="*/ 265096 w 1290247"/>
                  <a:gd name="connsiteY1" fmla="*/ 89648 h 89835"/>
                  <a:gd name="connsiteX2" fmla="*/ 199761 w 1290247"/>
                  <a:gd name="connsiteY2" fmla="*/ 80501 h 89835"/>
                  <a:gd name="connsiteX3" fmla="*/ 8723 w 1290247"/>
                  <a:gd name="connsiteY3" fmla="*/ 26339 h 89835"/>
                  <a:gd name="connsiteX4" fmla="*/ -555 w 1290247"/>
                  <a:gd name="connsiteY4" fmla="*/ 13272 h 89835"/>
                  <a:gd name="connsiteX5" fmla="*/ 11924 w 1290247"/>
                  <a:gd name="connsiteY5" fmla="*/ -187 h 89835"/>
                  <a:gd name="connsiteX6" fmla="*/ 1277327 w 1290247"/>
                  <a:gd name="connsiteY6" fmla="*/ -187 h 89835"/>
                  <a:gd name="connsiteX7" fmla="*/ 1289676 w 1290247"/>
                  <a:gd name="connsiteY7" fmla="*/ 13272 h 89835"/>
                  <a:gd name="connsiteX8" fmla="*/ 1289676 w 1290247"/>
                  <a:gd name="connsiteY8" fmla="*/ 32872 h 89835"/>
                  <a:gd name="connsiteX9" fmla="*/ 1237016 w 1290247"/>
                  <a:gd name="connsiteY9" fmla="*/ 89648 h 89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90247" h="89835">
                    <a:moveTo>
                      <a:pt x="1237016" y="89648"/>
                    </a:moveTo>
                    <a:lnTo>
                      <a:pt x="265096" y="89648"/>
                    </a:lnTo>
                    <a:cubicBezTo>
                      <a:pt x="242993" y="89681"/>
                      <a:pt x="221002" y="86597"/>
                      <a:pt x="199761" y="80501"/>
                    </a:cubicBezTo>
                    <a:lnTo>
                      <a:pt x="8723" y="26339"/>
                    </a:lnTo>
                    <a:cubicBezTo>
                      <a:pt x="3006" y="24614"/>
                      <a:pt x="-810" y="19237"/>
                      <a:pt x="-555" y="13272"/>
                    </a:cubicBezTo>
                    <a:cubicBezTo>
                      <a:pt x="-777" y="6131"/>
                      <a:pt x="4783" y="133"/>
                      <a:pt x="11924" y="-187"/>
                    </a:cubicBezTo>
                    <a:lnTo>
                      <a:pt x="1277327" y="-187"/>
                    </a:lnTo>
                    <a:cubicBezTo>
                      <a:pt x="1284449" y="198"/>
                      <a:pt x="1289872" y="6177"/>
                      <a:pt x="1289676" y="13272"/>
                    </a:cubicBezTo>
                    <a:lnTo>
                      <a:pt x="1289676" y="32872"/>
                    </a:lnTo>
                    <a:cubicBezTo>
                      <a:pt x="1289284" y="64298"/>
                      <a:pt x="1265828" y="89648"/>
                      <a:pt x="1237016" y="89648"/>
                    </a:cubicBezTo>
                    <a:close/>
                  </a:path>
                </a:pathLst>
              </a:custGeom>
              <a:noFill/>
              <a:ln w="1633" cap="rnd">
                <a:solidFill>
                  <a:srgbClr val="263238"/>
                </a:solidFill>
                <a:prstDash val="solid"/>
                <a:round/>
              </a:ln>
            </p:spPr>
            <p:txBody>
              <a:bodyPr rtlCol="0" anchor="ctr"/>
              <a:lstStyle/>
              <a:p>
                <a:endParaRPr lang="zh-CN" altLang="en-US"/>
              </a:p>
            </p:txBody>
          </p:sp>
          <p:sp>
            <p:nvSpPr>
              <p:cNvPr id="111" name="íṧľíḋé"/>
              <p:cNvSpPr/>
              <p:nvPr/>
            </p:nvSpPr>
            <p:spPr>
              <a:xfrm>
                <a:off x="5603081" y="4067429"/>
                <a:ext cx="1218744" cy="761592"/>
              </a:xfrm>
              <a:custGeom>
                <a:avLst/>
                <a:gdLst>
                  <a:gd name="connsiteX0" fmla="*/ 996671 w 1218744"/>
                  <a:gd name="connsiteY0" fmla="*/ 761377 h 761592"/>
                  <a:gd name="connsiteX1" fmla="*/ 23576 w 1218744"/>
                  <a:gd name="connsiteY1" fmla="*/ 761377 h 761592"/>
                  <a:gd name="connsiteX2" fmla="*/ -533 w 1218744"/>
                  <a:gd name="connsiteY2" fmla="*/ 739542 h 761592"/>
                  <a:gd name="connsiteX3" fmla="*/ -533 w 1218744"/>
                  <a:gd name="connsiteY3" fmla="*/ 739489 h 761592"/>
                  <a:gd name="connsiteX4" fmla="*/ 839 w 1218744"/>
                  <a:gd name="connsiteY4" fmla="*/ 730408 h 761592"/>
                  <a:gd name="connsiteX5" fmla="*/ 181359 w 1218744"/>
                  <a:gd name="connsiteY5" fmla="*/ 30934 h 761592"/>
                  <a:gd name="connsiteX6" fmla="*/ 220560 w 1218744"/>
                  <a:gd name="connsiteY6" fmla="*/ -165 h 761592"/>
                  <a:gd name="connsiteX7" fmla="*/ 1194048 w 1218744"/>
                  <a:gd name="connsiteY7" fmla="*/ -165 h 761592"/>
                  <a:gd name="connsiteX8" fmla="*/ 1218156 w 1218744"/>
                  <a:gd name="connsiteY8" fmla="*/ 21944 h 761592"/>
                  <a:gd name="connsiteX9" fmla="*/ 1218156 w 1218744"/>
                  <a:gd name="connsiteY9" fmla="*/ 22049 h 761592"/>
                  <a:gd name="connsiteX10" fmla="*/ 1216719 w 1218744"/>
                  <a:gd name="connsiteY10" fmla="*/ 30934 h 761592"/>
                  <a:gd name="connsiteX11" fmla="*/ 1036133 w 1218744"/>
                  <a:gd name="connsiteY11" fmla="*/ 730408 h 761592"/>
                  <a:gd name="connsiteX12" fmla="*/ 996671 w 1218744"/>
                  <a:gd name="connsiteY12" fmla="*/ 761377 h 761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8744" h="761592">
                    <a:moveTo>
                      <a:pt x="996671" y="761377"/>
                    </a:moveTo>
                    <a:lnTo>
                      <a:pt x="23576" y="761377"/>
                    </a:lnTo>
                    <a:cubicBezTo>
                      <a:pt x="10888" y="762004"/>
                      <a:pt x="94" y="752230"/>
                      <a:pt x="-533" y="739542"/>
                    </a:cubicBezTo>
                    <a:cubicBezTo>
                      <a:pt x="-533" y="739522"/>
                      <a:pt x="-533" y="739509"/>
                      <a:pt x="-533" y="739489"/>
                    </a:cubicBezTo>
                    <a:cubicBezTo>
                      <a:pt x="-703" y="736399"/>
                      <a:pt x="-232" y="733309"/>
                      <a:pt x="839" y="730408"/>
                    </a:cubicBezTo>
                    <a:lnTo>
                      <a:pt x="181359" y="30934"/>
                    </a:lnTo>
                    <a:cubicBezTo>
                      <a:pt x="186390" y="13222"/>
                      <a:pt x="202168" y="704"/>
                      <a:pt x="220560" y="-165"/>
                    </a:cubicBezTo>
                    <a:lnTo>
                      <a:pt x="1194048" y="-165"/>
                    </a:lnTo>
                    <a:cubicBezTo>
                      <a:pt x="1206788" y="-714"/>
                      <a:pt x="1217633" y="9184"/>
                      <a:pt x="1218156" y="21944"/>
                    </a:cubicBezTo>
                    <a:cubicBezTo>
                      <a:pt x="1218156" y="21977"/>
                      <a:pt x="1218156" y="22016"/>
                      <a:pt x="1218156" y="22049"/>
                    </a:cubicBezTo>
                    <a:cubicBezTo>
                      <a:pt x="1218287" y="25080"/>
                      <a:pt x="1217830" y="28105"/>
                      <a:pt x="1216719" y="30934"/>
                    </a:cubicBezTo>
                    <a:lnTo>
                      <a:pt x="1036133" y="730408"/>
                    </a:lnTo>
                    <a:cubicBezTo>
                      <a:pt x="1031102" y="748205"/>
                      <a:pt x="1015161" y="760717"/>
                      <a:pt x="996671" y="761377"/>
                    </a:cubicBezTo>
                    <a:close/>
                  </a:path>
                </a:pathLst>
              </a:custGeom>
              <a:noFill/>
              <a:ln w="1633" cap="rnd">
                <a:solidFill>
                  <a:srgbClr val="263238"/>
                </a:solidFill>
                <a:prstDash val="solid"/>
                <a:round/>
              </a:ln>
            </p:spPr>
            <p:txBody>
              <a:bodyPr rtlCol="0" anchor="ctr"/>
              <a:lstStyle/>
              <a:p>
                <a:endParaRPr lang="zh-CN" altLang="en-US"/>
              </a:p>
            </p:txBody>
          </p:sp>
          <p:sp>
            <p:nvSpPr>
              <p:cNvPr id="112" name="iṩḻïḋe"/>
              <p:cNvSpPr/>
              <p:nvPr/>
            </p:nvSpPr>
            <p:spPr>
              <a:xfrm>
                <a:off x="6767641" y="4085353"/>
                <a:ext cx="17901" cy="6533"/>
              </a:xfrm>
              <a:custGeom>
                <a:avLst/>
                <a:gdLst>
                  <a:gd name="connsiteX0" fmla="*/ 0 w 17901"/>
                  <a:gd name="connsiteY0" fmla="*/ 0 h 6533"/>
                  <a:gd name="connsiteX1" fmla="*/ 17902 w 17901"/>
                  <a:gd name="connsiteY1" fmla="*/ 0 h 6533"/>
                </a:gdLst>
                <a:ahLst/>
                <a:cxnLst>
                  <a:cxn ang="0">
                    <a:pos x="connsiteX0" y="connsiteY0"/>
                  </a:cxn>
                  <a:cxn ang="0">
                    <a:pos x="connsiteX1" y="connsiteY1"/>
                  </a:cxn>
                </a:cxnLst>
                <a:rect l="l" t="t" r="r" b="b"/>
                <a:pathLst>
                  <a:path w="17901" h="6533">
                    <a:moveTo>
                      <a:pt x="0" y="0"/>
                    </a:moveTo>
                    <a:lnTo>
                      <a:pt x="17902" y="0"/>
                    </a:lnTo>
                  </a:path>
                </a:pathLst>
              </a:custGeom>
              <a:ln w="1633" cap="rnd">
                <a:solidFill>
                  <a:srgbClr val="263238"/>
                </a:solidFill>
                <a:prstDash val="solid"/>
                <a:round/>
              </a:ln>
            </p:spPr>
            <p:txBody>
              <a:bodyPr rtlCol="0" anchor="ctr"/>
              <a:lstStyle/>
              <a:p>
                <a:endParaRPr lang="zh-CN" altLang="en-US"/>
              </a:p>
            </p:txBody>
          </p:sp>
          <p:sp>
            <p:nvSpPr>
              <p:cNvPr id="113" name="işḷíḋê"/>
              <p:cNvSpPr/>
              <p:nvPr/>
            </p:nvSpPr>
            <p:spPr>
              <a:xfrm>
                <a:off x="6624297" y="4085353"/>
                <a:ext cx="89573" cy="6533"/>
              </a:xfrm>
              <a:custGeom>
                <a:avLst/>
                <a:gdLst>
                  <a:gd name="connsiteX0" fmla="*/ 0 w 89573"/>
                  <a:gd name="connsiteY0" fmla="*/ 0 h 6533"/>
                  <a:gd name="connsiteX1" fmla="*/ 89574 w 89573"/>
                  <a:gd name="connsiteY1" fmla="*/ 0 h 6533"/>
                </a:gdLst>
                <a:ahLst/>
                <a:cxnLst>
                  <a:cxn ang="0">
                    <a:pos x="connsiteX0" y="connsiteY0"/>
                  </a:cxn>
                  <a:cxn ang="0">
                    <a:pos x="connsiteX1" y="connsiteY1"/>
                  </a:cxn>
                </a:cxnLst>
                <a:rect l="l" t="t" r="r" b="b"/>
                <a:pathLst>
                  <a:path w="89573" h="6533">
                    <a:moveTo>
                      <a:pt x="0" y="0"/>
                    </a:moveTo>
                    <a:lnTo>
                      <a:pt x="89574" y="0"/>
                    </a:lnTo>
                  </a:path>
                </a:pathLst>
              </a:custGeom>
              <a:ln w="1633" cap="rnd">
                <a:solidFill>
                  <a:srgbClr val="263238"/>
                </a:solidFill>
                <a:prstDash val="solid"/>
                <a:round/>
              </a:ln>
            </p:spPr>
            <p:txBody>
              <a:bodyPr rtlCol="0" anchor="ctr"/>
              <a:lstStyle/>
              <a:p>
                <a:endParaRPr lang="zh-CN" altLang="en-US"/>
              </a:p>
            </p:txBody>
          </p:sp>
          <p:sp>
            <p:nvSpPr>
              <p:cNvPr id="114" name="iṡľiḍe"/>
              <p:cNvSpPr/>
              <p:nvPr/>
            </p:nvSpPr>
            <p:spPr>
              <a:xfrm>
                <a:off x="5647673" y="4085353"/>
                <a:ext cx="949836" cy="654065"/>
              </a:xfrm>
              <a:custGeom>
                <a:avLst/>
                <a:gdLst>
                  <a:gd name="connsiteX0" fmla="*/ -567 w 949836"/>
                  <a:gd name="connsiteY0" fmla="*/ 653879 h 654065"/>
                  <a:gd name="connsiteX1" fmla="*/ 159111 w 949836"/>
                  <a:gd name="connsiteY1" fmla="*/ 31239 h 654065"/>
                  <a:gd name="connsiteX2" fmla="*/ 197920 w 949836"/>
                  <a:gd name="connsiteY2" fmla="*/ -187 h 654065"/>
                  <a:gd name="connsiteX3" fmla="*/ 949270 w 949836"/>
                  <a:gd name="connsiteY3" fmla="*/ -187 h 654065"/>
                </a:gdLst>
                <a:ahLst/>
                <a:cxnLst>
                  <a:cxn ang="0">
                    <a:pos x="connsiteX0" y="connsiteY0"/>
                  </a:cxn>
                  <a:cxn ang="0">
                    <a:pos x="connsiteX1" y="connsiteY1"/>
                  </a:cxn>
                  <a:cxn ang="0">
                    <a:pos x="connsiteX2" y="connsiteY2"/>
                  </a:cxn>
                  <a:cxn ang="0">
                    <a:pos x="connsiteX3" y="connsiteY3"/>
                  </a:cxn>
                </a:cxnLst>
                <a:rect l="l" t="t" r="r" b="b"/>
                <a:pathLst>
                  <a:path w="949836" h="654065">
                    <a:moveTo>
                      <a:pt x="-567" y="653879"/>
                    </a:moveTo>
                    <a:lnTo>
                      <a:pt x="159111" y="31239"/>
                    </a:lnTo>
                    <a:cubicBezTo>
                      <a:pt x="163959" y="13520"/>
                      <a:pt x="179581" y="871"/>
                      <a:pt x="197920" y="-187"/>
                    </a:cubicBezTo>
                    <a:lnTo>
                      <a:pt x="949270" y="-187"/>
                    </a:lnTo>
                  </a:path>
                </a:pathLst>
              </a:custGeom>
              <a:noFill/>
              <a:ln w="1633" cap="rnd">
                <a:solidFill>
                  <a:srgbClr val="263238"/>
                </a:solidFill>
                <a:prstDash val="solid"/>
                <a:round/>
              </a:ln>
            </p:spPr>
            <p:txBody>
              <a:bodyPr rtlCol="0" anchor="ctr"/>
              <a:lstStyle/>
              <a:p>
                <a:endParaRPr lang="zh-CN" altLang="en-US"/>
              </a:p>
            </p:txBody>
          </p:sp>
          <p:sp>
            <p:nvSpPr>
              <p:cNvPr id="115" name="íṧḷíďê"/>
              <p:cNvSpPr/>
              <p:nvPr/>
            </p:nvSpPr>
            <p:spPr>
              <a:xfrm>
                <a:off x="5629706" y="4775288"/>
                <a:ext cx="8950" cy="17967"/>
              </a:xfrm>
              <a:custGeom>
                <a:avLst/>
                <a:gdLst>
                  <a:gd name="connsiteX0" fmla="*/ 0 w 8950"/>
                  <a:gd name="connsiteY0" fmla="*/ 17967 h 17967"/>
                  <a:gd name="connsiteX1" fmla="*/ 8951 w 8950"/>
                  <a:gd name="connsiteY1" fmla="*/ 0 h 17967"/>
                </a:gdLst>
                <a:ahLst/>
                <a:cxnLst>
                  <a:cxn ang="0">
                    <a:pos x="connsiteX0" y="connsiteY0"/>
                  </a:cxn>
                  <a:cxn ang="0">
                    <a:pos x="connsiteX1" y="connsiteY1"/>
                  </a:cxn>
                </a:cxnLst>
                <a:rect l="l" t="t" r="r" b="b"/>
                <a:pathLst>
                  <a:path w="8950" h="17967">
                    <a:moveTo>
                      <a:pt x="0" y="17967"/>
                    </a:moveTo>
                    <a:lnTo>
                      <a:pt x="8951" y="0"/>
                    </a:lnTo>
                  </a:path>
                </a:pathLst>
              </a:custGeom>
              <a:ln w="1633" cap="rnd">
                <a:solidFill>
                  <a:srgbClr val="263238"/>
                </a:solidFill>
                <a:prstDash val="solid"/>
                <a:round/>
              </a:ln>
            </p:spPr>
            <p:txBody>
              <a:bodyPr rtlCol="0" anchor="ctr"/>
              <a:lstStyle/>
              <a:p>
                <a:endParaRPr lang="zh-CN" altLang="en-US"/>
              </a:p>
            </p:txBody>
          </p:sp>
          <p:sp>
            <p:nvSpPr>
              <p:cNvPr id="116" name="íşḻíḓê"/>
              <p:cNvSpPr/>
              <p:nvPr/>
            </p:nvSpPr>
            <p:spPr>
              <a:xfrm>
                <a:off x="6167368" y="4380906"/>
                <a:ext cx="143322" cy="161407"/>
              </a:xfrm>
              <a:custGeom>
                <a:avLst/>
                <a:gdLst>
                  <a:gd name="connsiteX0" fmla="*/ 142755 w 143322"/>
                  <a:gd name="connsiteY0" fmla="*/ 83201 h 161407"/>
                  <a:gd name="connsiteX1" fmla="*/ 139162 w 143322"/>
                  <a:gd name="connsiteY1" fmla="*/ 100319 h 161407"/>
                  <a:gd name="connsiteX2" fmla="*/ 48085 w 143322"/>
                  <a:gd name="connsiteY2" fmla="*/ 158728 h 161407"/>
                  <a:gd name="connsiteX3" fmla="*/ 3266 w 143322"/>
                  <a:gd name="connsiteY3" fmla="*/ 60726 h 161407"/>
                  <a:gd name="connsiteX4" fmla="*/ 94735 w 143322"/>
                  <a:gd name="connsiteY4" fmla="*/ 2317 h 161407"/>
                  <a:gd name="connsiteX5" fmla="*/ 107344 w 143322"/>
                  <a:gd name="connsiteY5" fmla="*/ 7609 h 161407"/>
                  <a:gd name="connsiteX6" fmla="*/ 142755 w 143322"/>
                  <a:gd name="connsiteY6" fmla="*/ 83201 h 161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322" h="161407">
                    <a:moveTo>
                      <a:pt x="142755" y="83201"/>
                    </a:moveTo>
                    <a:cubicBezTo>
                      <a:pt x="142109" y="89009"/>
                      <a:pt x="140907" y="94739"/>
                      <a:pt x="139162" y="100319"/>
                    </a:cubicBezTo>
                    <a:cubicBezTo>
                      <a:pt x="126422" y="143374"/>
                      <a:pt x="85588" y="169704"/>
                      <a:pt x="48085" y="158728"/>
                    </a:cubicBezTo>
                    <a:cubicBezTo>
                      <a:pt x="10583" y="147752"/>
                      <a:pt x="-9474" y="103978"/>
                      <a:pt x="3266" y="60726"/>
                    </a:cubicBezTo>
                    <a:cubicBezTo>
                      <a:pt x="16006" y="17474"/>
                      <a:pt x="57102" y="-8659"/>
                      <a:pt x="94735" y="2317"/>
                    </a:cubicBezTo>
                    <a:cubicBezTo>
                      <a:pt x="99119" y="3617"/>
                      <a:pt x="103346" y="5394"/>
                      <a:pt x="107344" y="7609"/>
                    </a:cubicBezTo>
                    <a:cubicBezTo>
                      <a:pt x="103117" y="37597"/>
                      <a:pt x="117007" y="67253"/>
                      <a:pt x="142755" y="83201"/>
                    </a:cubicBezTo>
                    <a:close/>
                  </a:path>
                </a:pathLst>
              </a:custGeom>
              <a:solidFill>
                <a:srgbClr val="FFFFFF"/>
              </a:solidFill>
              <a:ln w="6531" cap="flat">
                <a:noFill/>
                <a:prstDash val="solid"/>
                <a:miter/>
              </a:ln>
            </p:spPr>
            <p:txBody>
              <a:bodyPr rtlCol="0" anchor="ctr"/>
              <a:lstStyle/>
              <a:p>
                <a:endParaRPr lang="zh-CN" altLang="en-US"/>
              </a:p>
            </p:txBody>
          </p:sp>
          <p:sp>
            <p:nvSpPr>
              <p:cNvPr id="117" name="ïš1íḍê"/>
              <p:cNvSpPr/>
              <p:nvPr/>
            </p:nvSpPr>
            <p:spPr>
              <a:xfrm>
                <a:off x="6167368" y="4380906"/>
                <a:ext cx="143322" cy="161407"/>
              </a:xfrm>
              <a:custGeom>
                <a:avLst/>
                <a:gdLst>
                  <a:gd name="connsiteX0" fmla="*/ 142755 w 143322"/>
                  <a:gd name="connsiteY0" fmla="*/ 83201 h 161407"/>
                  <a:gd name="connsiteX1" fmla="*/ 139162 w 143322"/>
                  <a:gd name="connsiteY1" fmla="*/ 100319 h 161407"/>
                  <a:gd name="connsiteX2" fmla="*/ 48085 w 143322"/>
                  <a:gd name="connsiteY2" fmla="*/ 158728 h 161407"/>
                  <a:gd name="connsiteX3" fmla="*/ 3266 w 143322"/>
                  <a:gd name="connsiteY3" fmla="*/ 60726 h 161407"/>
                  <a:gd name="connsiteX4" fmla="*/ 94735 w 143322"/>
                  <a:gd name="connsiteY4" fmla="*/ 2317 h 161407"/>
                  <a:gd name="connsiteX5" fmla="*/ 107344 w 143322"/>
                  <a:gd name="connsiteY5" fmla="*/ 7609 h 161407"/>
                  <a:gd name="connsiteX6" fmla="*/ 142755 w 143322"/>
                  <a:gd name="connsiteY6" fmla="*/ 83201 h 161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322" h="161407">
                    <a:moveTo>
                      <a:pt x="142755" y="83201"/>
                    </a:moveTo>
                    <a:cubicBezTo>
                      <a:pt x="142109" y="89009"/>
                      <a:pt x="140907" y="94739"/>
                      <a:pt x="139162" y="100319"/>
                    </a:cubicBezTo>
                    <a:cubicBezTo>
                      <a:pt x="126422" y="143374"/>
                      <a:pt x="85588" y="169704"/>
                      <a:pt x="48085" y="158728"/>
                    </a:cubicBezTo>
                    <a:cubicBezTo>
                      <a:pt x="10583" y="147752"/>
                      <a:pt x="-9474" y="103978"/>
                      <a:pt x="3266" y="60726"/>
                    </a:cubicBezTo>
                    <a:cubicBezTo>
                      <a:pt x="16006" y="17474"/>
                      <a:pt x="57102" y="-8659"/>
                      <a:pt x="94735" y="2317"/>
                    </a:cubicBezTo>
                    <a:cubicBezTo>
                      <a:pt x="99119" y="3617"/>
                      <a:pt x="103346" y="5394"/>
                      <a:pt x="107344" y="7609"/>
                    </a:cubicBezTo>
                    <a:cubicBezTo>
                      <a:pt x="103117" y="37597"/>
                      <a:pt x="117007" y="67253"/>
                      <a:pt x="142755" y="83201"/>
                    </a:cubicBezTo>
                    <a:close/>
                  </a:path>
                </a:pathLst>
              </a:custGeom>
              <a:noFill/>
              <a:ln w="1633" cap="rnd">
                <a:solidFill>
                  <a:srgbClr val="263238"/>
                </a:solidFill>
                <a:prstDash val="solid"/>
                <a:round/>
              </a:ln>
            </p:spPr>
            <p:txBody>
              <a:bodyPr rtlCol="0" anchor="ctr"/>
              <a:lstStyle/>
              <a:p>
                <a:endParaRPr lang="zh-CN" altLang="en-US"/>
              </a:p>
            </p:txBody>
          </p:sp>
          <p:sp>
            <p:nvSpPr>
              <p:cNvPr id="119" name="iṥļîḑê"/>
              <p:cNvSpPr/>
              <p:nvPr/>
            </p:nvSpPr>
            <p:spPr>
              <a:xfrm>
                <a:off x="5342821" y="3897189"/>
                <a:ext cx="385474" cy="519672"/>
              </a:xfrm>
              <a:custGeom>
                <a:avLst/>
                <a:gdLst>
                  <a:gd name="connsiteX0" fmla="*/ 384908 w 385474"/>
                  <a:gd name="connsiteY0" fmla="*/ -187 h 519672"/>
                  <a:gd name="connsiteX1" fmla="*/ -567 w 385474"/>
                  <a:gd name="connsiteY1" fmla="*/ 519486 h 519672"/>
                </a:gdLst>
                <a:ahLst/>
                <a:cxnLst>
                  <a:cxn ang="0">
                    <a:pos x="connsiteX0" y="connsiteY0"/>
                  </a:cxn>
                  <a:cxn ang="0">
                    <a:pos x="connsiteX1" y="connsiteY1"/>
                  </a:cxn>
                </a:cxnLst>
                <a:rect l="l" t="t" r="r" b="b"/>
                <a:pathLst>
                  <a:path w="385474" h="519672">
                    <a:moveTo>
                      <a:pt x="384908" y="-187"/>
                    </a:moveTo>
                    <a:cubicBezTo>
                      <a:pt x="384908" y="-187"/>
                      <a:pt x="263451" y="401295"/>
                      <a:pt x="-567" y="519486"/>
                    </a:cubicBezTo>
                  </a:path>
                </a:pathLst>
              </a:custGeom>
              <a:noFill/>
              <a:ln w="1633" cap="rnd">
                <a:solidFill>
                  <a:srgbClr val="263238"/>
                </a:solidFill>
                <a:prstDash val="solid"/>
                <a:round/>
              </a:ln>
            </p:spPr>
            <p:txBody>
              <a:bodyPr rtlCol="0" anchor="ctr"/>
              <a:lstStyle/>
              <a:p>
                <a:endParaRPr lang="zh-CN" altLang="en-US"/>
              </a:p>
            </p:txBody>
          </p:sp>
          <p:sp>
            <p:nvSpPr>
              <p:cNvPr id="120" name="ïśľíďè"/>
              <p:cNvSpPr/>
              <p:nvPr/>
            </p:nvSpPr>
            <p:spPr>
              <a:xfrm>
                <a:off x="5100037" y="3124624"/>
                <a:ext cx="180350" cy="119810"/>
              </a:xfrm>
              <a:custGeom>
                <a:avLst/>
                <a:gdLst>
                  <a:gd name="connsiteX0" fmla="*/ -567 w 180350"/>
                  <a:gd name="connsiteY0" fmla="*/ 45986 h 119810"/>
                  <a:gd name="connsiteX1" fmla="*/ 155126 w 180350"/>
                  <a:gd name="connsiteY1" fmla="*/ 93223 h 119810"/>
                  <a:gd name="connsiteX2" fmla="*/ -567 w 180350"/>
                  <a:gd name="connsiteY2" fmla="*/ 45986 h 119810"/>
                </a:gdLst>
                <a:ahLst/>
                <a:cxnLst>
                  <a:cxn ang="0">
                    <a:pos x="connsiteX0" y="connsiteY0"/>
                  </a:cxn>
                  <a:cxn ang="0">
                    <a:pos x="connsiteX1" y="connsiteY1"/>
                  </a:cxn>
                  <a:cxn ang="0">
                    <a:pos x="connsiteX2" y="connsiteY2"/>
                  </a:cxn>
                </a:cxnLst>
                <a:rect l="l" t="t" r="r" b="b"/>
                <a:pathLst>
                  <a:path w="180350" h="119810">
                    <a:moveTo>
                      <a:pt x="-567" y="45986"/>
                    </a:moveTo>
                    <a:cubicBezTo>
                      <a:pt x="-567" y="45986"/>
                      <a:pt x="65813" y="173192"/>
                      <a:pt x="155126" y="93223"/>
                    </a:cubicBezTo>
                    <a:cubicBezTo>
                      <a:pt x="244439" y="13253"/>
                      <a:pt x="67512" y="-44960"/>
                      <a:pt x="-567" y="45986"/>
                    </a:cubicBezTo>
                    <a:close/>
                  </a:path>
                </a:pathLst>
              </a:custGeom>
              <a:solidFill>
                <a:srgbClr val="263238"/>
              </a:solidFill>
              <a:ln w="6531" cap="flat">
                <a:noFill/>
                <a:prstDash val="solid"/>
                <a:miter/>
              </a:ln>
            </p:spPr>
            <p:txBody>
              <a:bodyPr rtlCol="0" anchor="ctr"/>
              <a:lstStyle/>
              <a:p>
                <a:endParaRPr lang="zh-CN" altLang="en-US"/>
              </a:p>
            </p:txBody>
          </p:sp>
          <p:sp>
            <p:nvSpPr>
              <p:cNvPr id="121" name="ïŝļïḑe"/>
              <p:cNvSpPr/>
              <p:nvPr/>
            </p:nvSpPr>
            <p:spPr>
              <a:xfrm>
                <a:off x="5400837" y="2654326"/>
                <a:ext cx="152373" cy="334056"/>
              </a:xfrm>
              <a:custGeom>
                <a:avLst/>
                <a:gdLst>
                  <a:gd name="connsiteX0" fmla="*/ 67448 w 152373"/>
                  <a:gd name="connsiteY0" fmla="*/ -187 h 334056"/>
                  <a:gd name="connsiteX1" fmla="*/ 94954 w 152373"/>
                  <a:gd name="connsiteY1" fmla="*/ 333870 h 334056"/>
                  <a:gd name="connsiteX2" fmla="*/ 9562 w 152373"/>
                  <a:gd name="connsiteY2" fmla="*/ 93438 h 334056"/>
                  <a:gd name="connsiteX3" fmla="*/ 52682 w 152373"/>
                  <a:gd name="connsiteY3" fmla="*/ 41170 h 334056"/>
                </a:gdLst>
                <a:ahLst/>
                <a:cxnLst>
                  <a:cxn ang="0">
                    <a:pos x="connsiteX0" y="connsiteY0"/>
                  </a:cxn>
                  <a:cxn ang="0">
                    <a:pos x="connsiteX1" y="connsiteY1"/>
                  </a:cxn>
                  <a:cxn ang="0">
                    <a:pos x="connsiteX2" y="connsiteY2"/>
                  </a:cxn>
                  <a:cxn ang="0">
                    <a:pos x="connsiteX3" y="connsiteY3"/>
                  </a:cxn>
                </a:cxnLst>
                <a:rect l="l" t="t" r="r" b="b"/>
                <a:pathLst>
                  <a:path w="152373" h="334056">
                    <a:moveTo>
                      <a:pt x="67448" y="-187"/>
                    </a:moveTo>
                    <a:cubicBezTo>
                      <a:pt x="67448" y="-187"/>
                      <a:pt x="237318" y="204376"/>
                      <a:pt x="94954" y="333870"/>
                    </a:cubicBezTo>
                    <a:cubicBezTo>
                      <a:pt x="94954" y="333870"/>
                      <a:pt x="-37545" y="126628"/>
                      <a:pt x="9562" y="93438"/>
                    </a:cubicBezTo>
                    <a:cubicBezTo>
                      <a:pt x="58824" y="53910"/>
                      <a:pt x="52682" y="41170"/>
                      <a:pt x="52682" y="41170"/>
                    </a:cubicBezTo>
                    <a:close/>
                  </a:path>
                </a:pathLst>
              </a:custGeom>
              <a:solidFill>
                <a:srgbClr val="263238"/>
              </a:solidFill>
              <a:ln w="6531" cap="flat">
                <a:noFill/>
                <a:prstDash val="solid"/>
                <a:miter/>
              </a:ln>
            </p:spPr>
            <p:txBody>
              <a:bodyPr rtlCol="0" anchor="ctr"/>
              <a:lstStyle/>
              <a:p>
                <a:endParaRPr lang="zh-CN" altLang="en-US"/>
              </a:p>
            </p:txBody>
          </p:sp>
          <p:sp>
            <p:nvSpPr>
              <p:cNvPr id="123" name="ïṧḻîḋê"/>
              <p:cNvSpPr/>
              <p:nvPr/>
            </p:nvSpPr>
            <p:spPr>
              <a:xfrm rot="19799999">
                <a:off x="5405111" y="3108856"/>
                <a:ext cx="87287" cy="45734"/>
              </a:xfrm>
              <a:custGeom>
                <a:avLst/>
                <a:gdLst>
                  <a:gd name="connsiteX0" fmla="*/ 86720 w 87287"/>
                  <a:gd name="connsiteY0" fmla="*/ 22680 h 45734"/>
                  <a:gd name="connsiteX1" fmla="*/ 43077 w 87287"/>
                  <a:gd name="connsiteY1" fmla="*/ 45547 h 45734"/>
                  <a:gd name="connsiteX2" fmla="*/ -567 w 87287"/>
                  <a:gd name="connsiteY2" fmla="*/ 22680 h 45734"/>
                  <a:gd name="connsiteX3" fmla="*/ 43077 w 87287"/>
                  <a:gd name="connsiteY3" fmla="*/ -187 h 45734"/>
                  <a:gd name="connsiteX4" fmla="*/ 86720 w 87287"/>
                  <a:gd name="connsiteY4" fmla="*/ 22680 h 45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287" h="45734">
                    <a:moveTo>
                      <a:pt x="86720" y="22680"/>
                    </a:moveTo>
                    <a:cubicBezTo>
                      <a:pt x="86720" y="35309"/>
                      <a:pt x="67181" y="45547"/>
                      <a:pt x="43077" y="45547"/>
                    </a:cubicBezTo>
                    <a:cubicBezTo>
                      <a:pt x="18973" y="45547"/>
                      <a:pt x="-567" y="35309"/>
                      <a:pt x="-567" y="22680"/>
                    </a:cubicBezTo>
                    <a:cubicBezTo>
                      <a:pt x="-567" y="10051"/>
                      <a:pt x="18973" y="-187"/>
                      <a:pt x="43077" y="-187"/>
                    </a:cubicBezTo>
                    <a:cubicBezTo>
                      <a:pt x="67181" y="-187"/>
                      <a:pt x="86720" y="10051"/>
                      <a:pt x="86720" y="22680"/>
                    </a:cubicBezTo>
                    <a:close/>
                  </a:path>
                </a:pathLst>
              </a:custGeom>
              <a:solidFill>
                <a:srgbClr val="E88282"/>
              </a:solidFill>
              <a:ln w="6531" cap="flat">
                <a:noFill/>
                <a:prstDash val="solid"/>
                <a:miter/>
              </a:ln>
            </p:spPr>
            <p:txBody>
              <a:bodyPr rtlCol="0" anchor="ctr"/>
              <a:lstStyle/>
              <a:p>
                <a:endParaRPr lang="zh-CN" altLang="en-US"/>
              </a:p>
            </p:txBody>
          </p:sp>
          <p:sp>
            <p:nvSpPr>
              <p:cNvPr id="124" name="iṥľíḍè"/>
              <p:cNvSpPr/>
              <p:nvPr/>
            </p:nvSpPr>
            <p:spPr>
              <a:xfrm rot="20116199">
                <a:off x="5281641" y="2933329"/>
                <a:ext cx="36848" cy="55273"/>
              </a:xfrm>
              <a:custGeom>
                <a:avLst/>
                <a:gdLst>
                  <a:gd name="connsiteX0" fmla="*/ 36282 w 36848"/>
                  <a:gd name="connsiteY0" fmla="*/ 27450 h 55273"/>
                  <a:gd name="connsiteX1" fmla="*/ 17858 w 36848"/>
                  <a:gd name="connsiteY1" fmla="*/ 55086 h 55273"/>
                  <a:gd name="connsiteX2" fmla="*/ -567 w 36848"/>
                  <a:gd name="connsiteY2" fmla="*/ 27450 h 55273"/>
                  <a:gd name="connsiteX3" fmla="*/ 17858 w 36848"/>
                  <a:gd name="connsiteY3" fmla="*/ -187 h 55273"/>
                  <a:gd name="connsiteX4" fmla="*/ 36282 w 36848"/>
                  <a:gd name="connsiteY4" fmla="*/ 27450 h 552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48" h="55273">
                    <a:moveTo>
                      <a:pt x="36282" y="27450"/>
                    </a:moveTo>
                    <a:cubicBezTo>
                      <a:pt x="36282" y="42713"/>
                      <a:pt x="28033" y="55086"/>
                      <a:pt x="17858" y="55086"/>
                    </a:cubicBezTo>
                    <a:cubicBezTo>
                      <a:pt x="7682" y="55086"/>
                      <a:pt x="-567" y="42713"/>
                      <a:pt x="-567" y="27450"/>
                    </a:cubicBezTo>
                    <a:cubicBezTo>
                      <a:pt x="-567" y="12186"/>
                      <a:pt x="7682" y="-187"/>
                      <a:pt x="17858" y="-187"/>
                    </a:cubicBezTo>
                    <a:cubicBezTo>
                      <a:pt x="28033" y="-187"/>
                      <a:pt x="36282" y="12186"/>
                      <a:pt x="36282" y="27450"/>
                    </a:cubicBezTo>
                    <a:close/>
                  </a:path>
                </a:pathLst>
              </a:custGeom>
              <a:solidFill>
                <a:srgbClr val="263238"/>
              </a:solidFill>
              <a:ln w="6531" cap="flat">
                <a:noFill/>
                <a:prstDash val="solid"/>
                <a:miter/>
              </a:ln>
            </p:spPr>
            <p:txBody>
              <a:bodyPr rtlCol="0" anchor="ctr"/>
              <a:lstStyle/>
              <a:p>
                <a:endParaRPr lang="zh-CN" altLang="en-US"/>
              </a:p>
            </p:txBody>
          </p:sp>
          <p:sp>
            <p:nvSpPr>
              <p:cNvPr id="125" name="išľiḑé"/>
              <p:cNvSpPr/>
              <p:nvPr/>
            </p:nvSpPr>
            <p:spPr>
              <a:xfrm rot="20116199">
                <a:off x="5465990" y="2864678"/>
                <a:ext cx="36848" cy="55273"/>
              </a:xfrm>
              <a:custGeom>
                <a:avLst/>
                <a:gdLst>
                  <a:gd name="connsiteX0" fmla="*/ 36282 w 36848"/>
                  <a:gd name="connsiteY0" fmla="*/ 27450 h 55273"/>
                  <a:gd name="connsiteX1" fmla="*/ 17858 w 36848"/>
                  <a:gd name="connsiteY1" fmla="*/ 55086 h 55273"/>
                  <a:gd name="connsiteX2" fmla="*/ -567 w 36848"/>
                  <a:gd name="connsiteY2" fmla="*/ 27450 h 55273"/>
                  <a:gd name="connsiteX3" fmla="*/ 17858 w 36848"/>
                  <a:gd name="connsiteY3" fmla="*/ -187 h 55273"/>
                  <a:gd name="connsiteX4" fmla="*/ 36282 w 36848"/>
                  <a:gd name="connsiteY4" fmla="*/ 27450 h 552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48" h="55273">
                    <a:moveTo>
                      <a:pt x="36282" y="27450"/>
                    </a:moveTo>
                    <a:cubicBezTo>
                      <a:pt x="36282" y="42713"/>
                      <a:pt x="28033" y="55086"/>
                      <a:pt x="17858" y="55086"/>
                    </a:cubicBezTo>
                    <a:cubicBezTo>
                      <a:pt x="7682" y="55086"/>
                      <a:pt x="-567" y="42713"/>
                      <a:pt x="-567" y="27450"/>
                    </a:cubicBezTo>
                    <a:cubicBezTo>
                      <a:pt x="-567" y="12186"/>
                      <a:pt x="7682" y="-187"/>
                      <a:pt x="17858" y="-187"/>
                    </a:cubicBezTo>
                    <a:cubicBezTo>
                      <a:pt x="28033" y="-187"/>
                      <a:pt x="36282" y="12186"/>
                      <a:pt x="36282" y="27450"/>
                    </a:cubicBezTo>
                    <a:close/>
                  </a:path>
                </a:pathLst>
              </a:custGeom>
              <a:solidFill>
                <a:srgbClr val="263238"/>
              </a:solidFill>
              <a:ln w="6531" cap="flat">
                <a:noFill/>
                <a:prstDash val="solid"/>
                <a:miter/>
              </a:ln>
            </p:spPr>
            <p:txBody>
              <a:bodyPr rtlCol="0" anchor="ctr"/>
              <a:lstStyle/>
              <a:p>
                <a:endParaRPr lang="zh-CN" altLang="en-US"/>
              </a:p>
            </p:txBody>
          </p:sp>
          <p:sp>
            <p:nvSpPr>
              <p:cNvPr id="127" name="íşḷïḑé"/>
              <p:cNvSpPr/>
              <p:nvPr/>
            </p:nvSpPr>
            <p:spPr>
              <a:xfrm>
                <a:off x="5019990" y="3017899"/>
                <a:ext cx="193393" cy="169990"/>
              </a:xfrm>
              <a:custGeom>
                <a:avLst/>
                <a:gdLst>
                  <a:gd name="connsiteX0" fmla="*/ 163305 w 193393"/>
                  <a:gd name="connsiteY0" fmla="*/ 35958 h 169990"/>
                  <a:gd name="connsiteX1" fmla="*/ 29891 w 193393"/>
                  <a:gd name="connsiteY1" fmla="*/ 9824 h 169990"/>
                  <a:gd name="connsiteX2" fmla="*/ 47531 w 193393"/>
                  <a:gd name="connsiteY2" fmla="*/ 144936 h 169990"/>
                  <a:gd name="connsiteX3" fmla="*/ 187805 w 193393"/>
                  <a:gd name="connsiteY3" fmla="*/ 120175 h 169990"/>
                  <a:gd name="connsiteX4" fmla="*/ 163305 w 193393"/>
                  <a:gd name="connsiteY4" fmla="*/ 36219 h 169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393" h="169990">
                    <a:moveTo>
                      <a:pt x="163305" y="35958"/>
                    </a:moveTo>
                    <a:cubicBezTo>
                      <a:pt x="163305" y="35958"/>
                      <a:pt x="97970" y="-23170"/>
                      <a:pt x="29891" y="9824"/>
                    </a:cubicBezTo>
                    <a:cubicBezTo>
                      <a:pt x="-25513" y="36415"/>
                      <a:pt x="3365" y="107826"/>
                      <a:pt x="47531" y="144936"/>
                    </a:cubicBezTo>
                    <a:cubicBezTo>
                      <a:pt x="87516" y="173618"/>
                      <a:pt x="174281" y="190671"/>
                      <a:pt x="187805" y="120175"/>
                    </a:cubicBezTo>
                    <a:cubicBezTo>
                      <a:pt x="207406" y="52161"/>
                      <a:pt x="163305" y="36219"/>
                      <a:pt x="163305" y="36219"/>
                    </a:cubicBezTo>
                    <a:close/>
                  </a:path>
                </a:pathLst>
              </a:custGeom>
              <a:solidFill>
                <a:srgbClr val="FCB9AE"/>
              </a:solidFill>
              <a:ln w="6531" cap="flat">
                <a:noFill/>
                <a:prstDash val="solid"/>
                <a:miter/>
              </a:ln>
            </p:spPr>
            <p:txBody>
              <a:bodyPr rtlCol="0" anchor="ctr"/>
              <a:lstStyle/>
              <a:p>
                <a:endParaRPr lang="zh-CN" altLang="en-US"/>
              </a:p>
            </p:txBody>
          </p:sp>
          <p:sp>
            <p:nvSpPr>
              <p:cNvPr id="128" name="íś1iḓê"/>
              <p:cNvSpPr/>
              <p:nvPr/>
            </p:nvSpPr>
            <p:spPr>
              <a:xfrm>
                <a:off x="5401557" y="2936376"/>
                <a:ext cx="75621" cy="116094"/>
              </a:xfrm>
              <a:custGeom>
                <a:avLst/>
                <a:gdLst>
                  <a:gd name="connsiteX0" fmla="*/ -567 w 75621"/>
                  <a:gd name="connsiteY0" fmla="*/ 9 h 116094"/>
                  <a:gd name="connsiteX1" fmla="*/ 73327 w 75621"/>
                  <a:gd name="connsiteY1" fmla="*/ 71877 h 116094"/>
                  <a:gd name="connsiteX2" fmla="*/ 34453 w 75621"/>
                  <a:gd name="connsiteY2" fmla="*/ 115847 h 116094"/>
                  <a:gd name="connsiteX3" fmla="*/ 20994 w 75621"/>
                  <a:gd name="connsiteY3" fmla="*/ 105851 h 116094"/>
                  <a:gd name="connsiteX4" fmla="*/ -567 w 75621"/>
                  <a:gd name="connsiteY4" fmla="*/ -187 h 116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621" h="116094">
                    <a:moveTo>
                      <a:pt x="-567" y="9"/>
                    </a:moveTo>
                    <a:cubicBezTo>
                      <a:pt x="12500" y="9286"/>
                      <a:pt x="51701" y="31566"/>
                      <a:pt x="73327" y="71877"/>
                    </a:cubicBezTo>
                    <a:cubicBezTo>
                      <a:pt x="81755" y="87623"/>
                      <a:pt x="57843" y="113430"/>
                      <a:pt x="34453" y="115847"/>
                    </a:cubicBezTo>
                    <a:cubicBezTo>
                      <a:pt x="28063" y="116475"/>
                      <a:pt x="22241" y="112150"/>
                      <a:pt x="20994" y="105851"/>
                    </a:cubicBezTo>
                    <a:lnTo>
                      <a:pt x="-567" y="-187"/>
                    </a:lnTo>
                    <a:close/>
                  </a:path>
                </a:pathLst>
              </a:custGeom>
              <a:solidFill>
                <a:srgbClr val="E88282"/>
              </a:solidFill>
              <a:ln w="6531" cap="flat">
                <a:noFill/>
                <a:prstDash val="solid"/>
                <a:miter/>
              </a:ln>
            </p:spPr>
            <p:txBody>
              <a:bodyPr rtlCol="0" anchor="ctr"/>
              <a:lstStyle/>
              <a:p>
                <a:endParaRPr lang="zh-CN" altLang="en-US"/>
              </a:p>
            </p:txBody>
          </p:sp>
          <p:sp>
            <p:nvSpPr>
              <p:cNvPr id="129" name="iś1ídè"/>
              <p:cNvSpPr/>
              <p:nvPr/>
            </p:nvSpPr>
            <p:spPr>
              <a:xfrm>
                <a:off x="4794900" y="2491455"/>
                <a:ext cx="195464" cy="320132"/>
              </a:xfrm>
              <a:custGeom>
                <a:avLst/>
                <a:gdLst>
                  <a:gd name="connsiteX0" fmla="*/ 28139 w 195464"/>
                  <a:gd name="connsiteY0" fmla="*/ 319945 h 320132"/>
                  <a:gd name="connsiteX1" fmla="*/ 12263 w 195464"/>
                  <a:gd name="connsiteY1" fmla="*/ 307596 h 320132"/>
                  <a:gd name="connsiteX2" fmla="*/ 35326 w 195464"/>
                  <a:gd name="connsiteY2" fmla="*/ 85916 h 320132"/>
                  <a:gd name="connsiteX3" fmla="*/ 176449 w 195464"/>
                  <a:gd name="connsiteY3" fmla="*/ -65 h 320132"/>
                  <a:gd name="connsiteX4" fmla="*/ 194775 w 195464"/>
                  <a:gd name="connsiteY4" fmla="*/ 14276 h 320132"/>
                  <a:gd name="connsiteX5" fmla="*/ 180434 w 195464"/>
                  <a:gd name="connsiteY5" fmla="*/ 32603 h 320132"/>
                  <a:gd name="connsiteX6" fmla="*/ 61982 w 195464"/>
                  <a:gd name="connsiteY6" fmla="*/ 104994 h 320132"/>
                  <a:gd name="connsiteX7" fmla="*/ 44015 w 195464"/>
                  <a:gd name="connsiteY7" fmla="*/ 299887 h 320132"/>
                  <a:gd name="connsiteX8" fmla="*/ 32124 w 195464"/>
                  <a:gd name="connsiteY8" fmla="*/ 319487 h 320132"/>
                  <a:gd name="connsiteX9" fmla="*/ 28139 w 195464"/>
                  <a:gd name="connsiteY9" fmla="*/ 319945 h 320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464" h="320132">
                    <a:moveTo>
                      <a:pt x="28139" y="319945"/>
                    </a:moveTo>
                    <a:cubicBezTo>
                      <a:pt x="20658" y="319912"/>
                      <a:pt x="14131" y="314842"/>
                      <a:pt x="12263" y="307596"/>
                    </a:cubicBezTo>
                    <a:cubicBezTo>
                      <a:pt x="-10604" y="216128"/>
                      <a:pt x="-2895" y="141385"/>
                      <a:pt x="35326" y="85916"/>
                    </a:cubicBezTo>
                    <a:cubicBezTo>
                      <a:pt x="86418" y="11630"/>
                      <a:pt x="172529" y="393"/>
                      <a:pt x="176449" y="-65"/>
                    </a:cubicBezTo>
                    <a:cubicBezTo>
                      <a:pt x="185472" y="-1162"/>
                      <a:pt x="193678" y="5254"/>
                      <a:pt x="194775" y="14276"/>
                    </a:cubicBezTo>
                    <a:cubicBezTo>
                      <a:pt x="195873" y="23299"/>
                      <a:pt x="189457" y="31505"/>
                      <a:pt x="180434" y="32603"/>
                    </a:cubicBezTo>
                    <a:cubicBezTo>
                      <a:pt x="179389" y="32603"/>
                      <a:pt x="104450" y="42926"/>
                      <a:pt x="61982" y="104994"/>
                    </a:cubicBezTo>
                    <a:cubicBezTo>
                      <a:pt x="29315" y="152361"/>
                      <a:pt x="23500" y="217957"/>
                      <a:pt x="44015" y="299887"/>
                    </a:cubicBezTo>
                    <a:cubicBezTo>
                      <a:pt x="46034" y="308564"/>
                      <a:pt x="40755" y="317273"/>
                      <a:pt x="32124" y="319487"/>
                    </a:cubicBezTo>
                    <a:cubicBezTo>
                      <a:pt x="30818" y="319795"/>
                      <a:pt x="29479" y="319951"/>
                      <a:pt x="28139" y="319945"/>
                    </a:cubicBezTo>
                    <a:close/>
                  </a:path>
                </a:pathLst>
              </a:custGeom>
              <a:solidFill>
                <a:srgbClr val="B2BFD8"/>
              </a:solidFill>
              <a:ln w="6531" cap="flat">
                <a:noFill/>
                <a:prstDash val="solid"/>
                <a:miter/>
              </a:ln>
            </p:spPr>
            <p:txBody>
              <a:bodyPr rtlCol="0" anchor="ctr"/>
              <a:lstStyle/>
              <a:p>
                <a:endParaRPr lang="zh-CN" altLang="en-US"/>
              </a:p>
            </p:txBody>
          </p:sp>
        </p:grpSp>
        <p:grpSp>
          <p:nvGrpSpPr>
            <p:cNvPr id="7" name="ïSlîḋê"/>
            <p:cNvGrpSpPr/>
            <p:nvPr/>
          </p:nvGrpSpPr>
          <p:grpSpPr>
            <a:xfrm>
              <a:off x="6579784" y="1545074"/>
              <a:ext cx="4466271" cy="4567755"/>
              <a:chOff x="6399038" y="1632692"/>
              <a:chExt cx="4466271" cy="4567755"/>
            </a:xfrm>
          </p:grpSpPr>
          <p:grpSp>
            <p:nvGrpSpPr>
              <p:cNvPr id="8" name="î$liḋè"/>
              <p:cNvGrpSpPr/>
              <p:nvPr/>
            </p:nvGrpSpPr>
            <p:grpSpPr>
              <a:xfrm>
                <a:off x="6399038" y="1632692"/>
                <a:ext cx="4466271" cy="1484072"/>
                <a:chOff x="4366580" y="1214943"/>
                <a:chExt cx="4466271" cy="1484072"/>
              </a:xfrm>
            </p:grpSpPr>
            <p:sp>
              <p:nvSpPr>
                <p:cNvPr id="19" name="iṩḻïďe"/>
                <p:cNvSpPr/>
                <p:nvPr/>
              </p:nvSpPr>
              <p:spPr>
                <a:xfrm>
                  <a:off x="4366580" y="1377489"/>
                  <a:ext cx="4466271" cy="1291376"/>
                </a:xfrm>
                <a:prstGeom prst="roundRect">
                  <a:avLst>
                    <a:gd name="adj" fmla="val 7053"/>
                  </a:avLst>
                </a:prstGeom>
                <a:solidFill>
                  <a:schemeClr val="tx1">
                    <a:lumMod val="25000"/>
                    <a:lumOff val="75000"/>
                    <a:alpha val="20000"/>
                  </a:schemeClr>
                </a:solidFill>
                <a:ln w="6055" cap="flat">
                  <a:noFill/>
                  <a:prstDash val="solid"/>
                  <a:miter/>
                </a:ln>
              </p:spPr>
              <p:txBody>
                <a:bodyPr rtlCol="0" anchor="ctr"/>
                <a:lstStyle/>
                <a:p>
                  <a:endParaRPr lang="zh-CN" altLang="en-US"/>
                </a:p>
              </p:txBody>
            </p:sp>
            <p:grpSp>
              <p:nvGrpSpPr>
                <p:cNvPr id="20" name="iş1íďè"/>
                <p:cNvGrpSpPr/>
                <p:nvPr/>
              </p:nvGrpSpPr>
              <p:grpSpPr>
                <a:xfrm>
                  <a:off x="4453124" y="1214943"/>
                  <a:ext cx="4293182" cy="1484072"/>
                  <a:chOff x="7062281" y="2852131"/>
                  <a:chExt cx="4293182" cy="1484072"/>
                </a:xfrm>
              </p:grpSpPr>
              <p:sp>
                <p:nvSpPr>
                  <p:cNvPr id="21" name="ísļíḑê"/>
                  <p:cNvSpPr/>
                  <p:nvPr/>
                </p:nvSpPr>
                <p:spPr>
                  <a:xfrm>
                    <a:off x="7172678" y="2852131"/>
                    <a:ext cx="1921763" cy="32496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54000" rIns="108000" bIns="54000" rtlCol="0" anchor="ctr" anchorCtr="0">
                    <a:spAutoFit/>
                  </a:bodyPr>
                  <a:lstStyle/>
                  <a:p>
                    <a:r>
                      <a:rPr kumimoji="1" lang="en-US" altLang="zh-CN" sz="1200" b="1" dirty="0">
                        <a:solidFill>
                          <a:schemeClr val="bg1"/>
                        </a:solidFill>
                      </a:rPr>
                      <a:t>Rule-based</a:t>
                    </a:r>
                    <a:endParaRPr kumimoji="1" lang="en-US" altLang="zh-CN" sz="1200" b="1" dirty="0">
                      <a:solidFill>
                        <a:schemeClr val="bg1"/>
                      </a:solidFill>
                    </a:endParaRPr>
                  </a:p>
                </p:txBody>
              </p:sp>
              <p:sp>
                <p:nvSpPr>
                  <p:cNvPr id="22" name="ís1iďé"/>
                  <p:cNvSpPr/>
                  <p:nvPr/>
                </p:nvSpPr>
                <p:spPr>
                  <a:xfrm>
                    <a:off x="7062281" y="3182773"/>
                    <a:ext cx="4293182" cy="11534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p>
                    <a:pPr>
                      <a:lnSpc>
                        <a:spcPct val="130000"/>
                      </a:lnSpc>
                    </a:pPr>
                    <a:r>
                      <a:rPr kumimoji="1" lang="en-US" altLang="zh-CN" sz="1200" dirty="0">
                        <a:solidFill>
                          <a:schemeClr val="tx1"/>
                        </a:solidFill>
                      </a:rPr>
                      <a:t>Rule-based speech synthesis methods synthesize speech using a library of predefined speech rules and speech units. These rules are created based on phonetics knowledge and acoustic models. Limitations in flexibility and naturalness</a:t>
                    </a:r>
                    <a:endParaRPr kumimoji="1" lang="en-US" altLang="zh-CN" sz="1200" dirty="0">
                      <a:solidFill>
                        <a:schemeClr val="tx1"/>
                      </a:solidFill>
                    </a:endParaRPr>
                  </a:p>
                </p:txBody>
              </p:sp>
            </p:grpSp>
          </p:grpSp>
          <p:grpSp>
            <p:nvGrpSpPr>
              <p:cNvPr id="9" name="íṧ1íḓé"/>
              <p:cNvGrpSpPr/>
              <p:nvPr/>
            </p:nvGrpSpPr>
            <p:grpSpPr>
              <a:xfrm>
                <a:off x="6399038" y="3174534"/>
                <a:ext cx="4466271" cy="1484072"/>
                <a:chOff x="4366580" y="1214943"/>
                <a:chExt cx="4466271" cy="1484072"/>
              </a:xfrm>
            </p:grpSpPr>
            <p:sp>
              <p:nvSpPr>
                <p:cNvPr id="15" name="îṧḻîḋé"/>
                <p:cNvSpPr/>
                <p:nvPr/>
              </p:nvSpPr>
              <p:spPr>
                <a:xfrm>
                  <a:off x="4366580" y="1377489"/>
                  <a:ext cx="4466271" cy="1216747"/>
                </a:xfrm>
                <a:prstGeom prst="roundRect">
                  <a:avLst>
                    <a:gd name="adj" fmla="val 7053"/>
                  </a:avLst>
                </a:prstGeom>
                <a:solidFill>
                  <a:schemeClr val="tx1">
                    <a:lumMod val="25000"/>
                    <a:lumOff val="75000"/>
                    <a:alpha val="20000"/>
                  </a:schemeClr>
                </a:solidFill>
                <a:ln w="6055" cap="flat">
                  <a:noFill/>
                  <a:prstDash val="solid"/>
                  <a:miter/>
                </a:ln>
              </p:spPr>
              <p:txBody>
                <a:bodyPr rtlCol="0" anchor="ctr"/>
                <a:lstStyle/>
                <a:p>
                  <a:endParaRPr lang="zh-CN" altLang="en-US"/>
                </a:p>
              </p:txBody>
            </p:sp>
            <p:grpSp>
              <p:nvGrpSpPr>
                <p:cNvPr id="16" name="í$ḷíďê"/>
                <p:cNvGrpSpPr/>
                <p:nvPr/>
              </p:nvGrpSpPr>
              <p:grpSpPr>
                <a:xfrm>
                  <a:off x="4453123" y="1214943"/>
                  <a:ext cx="4379727" cy="1484072"/>
                  <a:chOff x="7062280" y="2852131"/>
                  <a:chExt cx="4379727" cy="1484072"/>
                </a:xfrm>
              </p:grpSpPr>
              <p:sp>
                <p:nvSpPr>
                  <p:cNvPr id="17" name="îṩ1ïde"/>
                  <p:cNvSpPr/>
                  <p:nvPr/>
                </p:nvSpPr>
                <p:spPr>
                  <a:xfrm>
                    <a:off x="7172678" y="2852131"/>
                    <a:ext cx="1921763" cy="32496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54000" rIns="108000" bIns="54000" rtlCol="0" anchor="ctr" anchorCtr="0">
                    <a:spAutoFit/>
                  </a:bodyPr>
                  <a:lstStyle/>
                  <a:p>
                    <a:r>
                      <a:rPr kumimoji="1" lang="en-US" altLang="zh-CN" sz="1200" b="1" dirty="0">
                        <a:solidFill>
                          <a:schemeClr val="bg1"/>
                        </a:solidFill>
                      </a:rPr>
                      <a:t>Statistical-based</a:t>
                    </a:r>
                    <a:endParaRPr kumimoji="1" lang="en-US" altLang="zh-CN" sz="1200" b="1" dirty="0">
                      <a:solidFill>
                        <a:schemeClr val="bg1"/>
                      </a:solidFill>
                    </a:endParaRPr>
                  </a:p>
                </p:txBody>
              </p:sp>
              <p:sp>
                <p:nvSpPr>
                  <p:cNvPr id="18" name="iSḷiḓe"/>
                  <p:cNvSpPr/>
                  <p:nvPr/>
                </p:nvSpPr>
                <p:spPr>
                  <a:xfrm>
                    <a:off x="7062280" y="3182773"/>
                    <a:ext cx="4379727" cy="11534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p>
                    <a:pPr>
                      <a:lnSpc>
                        <a:spcPct val="130000"/>
                      </a:lnSpc>
                    </a:pPr>
                    <a:r>
                      <a:rPr kumimoji="1" lang="en-US" altLang="zh-CN" sz="1200" dirty="0">
                        <a:solidFill>
                          <a:schemeClr val="tx1"/>
                        </a:solidFill>
                      </a:rPr>
                      <a:t>Statistically based speech synthesis approaches use large-scale speech data sets to train models and use these models to generate speech,</a:t>
                    </a:r>
                    <a:r>
                      <a:rPr kumimoji="1" lang="zh-CN" altLang="en-US" sz="1200" dirty="0">
                        <a:solidFill>
                          <a:schemeClr val="tx1"/>
                        </a:solidFill>
                      </a:rPr>
                      <a:t> </a:t>
                    </a:r>
                    <a:r>
                      <a:rPr kumimoji="1" lang="en-US" altLang="zh-CN" sz="1200" dirty="0">
                        <a:solidFill>
                          <a:schemeClr val="tx1"/>
                        </a:solidFill>
                      </a:rPr>
                      <a:t>including Hidden Markov Models (HMM) and Gaussian Mixture Models (GMM).</a:t>
                    </a:r>
                    <a:endParaRPr kumimoji="1" lang="en-US" altLang="zh-CN" sz="1200" dirty="0">
                      <a:solidFill>
                        <a:schemeClr val="tx1"/>
                      </a:solidFill>
                    </a:endParaRPr>
                  </a:p>
                </p:txBody>
              </p:sp>
            </p:grpSp>
          </p:grpSp>
          <p:grpSp>
            <p:nvGrpSpPr>
              <p:cNvPr id="10" name="isļíḍe"/>
              <p:cNvGrpSpPr/>
              <p:nvPr/>
            </p:nvGrpSpPr>
            <p:grpSpPr>
              <a:xfrm>
                <a:off x="6399038" y="4716375"/>
                <a:ext cx="4466271" cy="1484072"/>
                <a:chOff x="4366580" y="1214943"/>
                <a:chExt cx="4466271" cy="1484072"/>
              </a:xfrm>
            </p:grpSpPr>
            <p:sp>
              <p:nvSpPr>
                <p:cNvPr id="11" name="ïšlîḓe"/>
                <p:cNvSpPr/>
                <p:nvPr/>
              </p:nvSpPr>
              <p:spPr>
                <a:xfrm>
                  <a:off x="4366580" y="1377489"/>
                  <a:ext cx="4466271" cy="1216747"/>
                </a:xfrm>
                <a:prstGeom prst="roundRect">
                  <a:avLst>
                    <a:gd name="adj" fmla="val 7053"/>
                  </a:avLst>
                </a:prstGeom>
                <a:solidFill>
                  <a:schemeClr val="tx1">
                    <a:lumMod val="25000"/>
                    <a:lumOff val="75000"/>
                    <a:alpha val="20000"/>
                  </a:schemeClr>
                </a:solidFill>
                <a:ln w="6055" cap="flat">
                  <a:noFill/>
                  <a:prstDash val="solid"/>
                  <a:miter/>
                </a:ln>
              </p:spPr>
              <p:txBody>
                <a:bodyPr rtlCol="0" anchor="ctr"/>
                <a:lstStyle/>
                <a:p>
                  <a:endParaRPr lang="zh-CN" altLang="en-US"/>
                </a:p>
              </p:txBody>
            </p:sp>
            <p:grpSp>
              <p:nvGrpSpPr>
                <p:cNvPr id="12" name="íṧḻïdè"/>
                <p:cNvGrpSpPr/>
                <p:nvPr/>
              </p:nvGrpSpPr>
              <p:grpSpPr>
                <a:xfrm>
                  <a:off x="4453124" y="1214943"/>
                  <a:ext cx="4293182" cy="1484072"/>
                  <a:chOff x="7062281" y="2852131"/>
                  <a:chExt cx="4293182" cy="1484072"/>
                </a:xfrm>
              </p:grpSpPr>
              <p:sp>
                <p:nvSpPr>
                  <p:cNvPr id="13" name="íS1íḍè"/>
                  <p:cNvSpPr/>
                  <p:nvPr/>
                </p:nvSpPr>
                <p:spPr>
                  <a:xfrm>
                    <a:off x="7172678" y="2852131"/>
                    <a:ext cx="1921763" cy="32496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54000" rIns="108000" bIns="54000" rtlCol="0" anchor="ctr" anchorCtr="0">
                    <a:spAutoFit/>
                  </a:bodyPr>
                  <a:lstStyle/>
                  <a:p>
                    <a:r>
                      <a:rPr kumimoji="1" lang="en-US" altLang="zh-CN" sz="1200" b="1" dirty="0">
                        <a:solidFill>
                          <a:schemeClr val="bg1"/>
                        </a:solidFill>
                      </a:rPr>
                      <a:t>Deep Learning-based</a:t>
                    </a:r>
                    <a:endParaRPr kumimoji="1" lang="en-US" altLang="zh-CN" sz="1200" b="1" dirty="0">
                      <a:solidFill>
                        <a:schemeClr val="bg1"/>
                      </a:solidFill>
                    </a:endParaRPr>
                  </a:p>
                </p:txBody>
              </p:sp>
              <p:sp>
                <p:nvSpPr>
                  <p:cNvPr id="14" name="îṩḷiḋé"/>
                  <p:cNvSpPr/>
                  <p:nvPr/>
                </p:nvSpPr>
                <p:spPr>
                  <a:xfrm>
                    <a:off x="7062281" y="3182773"/>
                    <a:ext cx="4293182" cy="11534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p>
                    <a:pPr>
                      <a:lnSpc>
                        <a:spcPct val="130000"/>
                      </a:lnSpc>
                    </a:pPr>
                    <a:r>
                      <a:rPr lang="en-US" altLang="zh-CN" sz="1200" b="0" i="0" dirty="0">
                        <a:solidFill>
                          <a:srgbClr val="333333"/>
                        </a:solidFill>
                        <a:effectLst/>
                      </a:rPr>
                      <a:t>Deep neural networks are used to learn speech representation and generation patterns and to model the mapping relationship between text and speech, including Recurrent Neural Networks and Long Short-Term Memory</a:t>
                    </a:r>
                    <a:endParaRPr kumimoji="1" lang="en-US" altLang="zh-CN" sz="1200" dirty="0">
                      <a:solidFill>
                        <a:schemeClr val="tx1"/>
                      </a:solidFill>
                    </a:endParaRPr>
                  </a:p>
                </p:txBody>
              </p:sp>
            </p:grpSp>
          </p:grpSp>
        </p:grpSp>
      </p:grpSp>
      <p:sp>
        <p:nvSpPr>
          <p:cNvPr id="131" name="矩形 130"/>
          <p:cNvSpPr>
            <a:spLocks noChangeAspect="1"/>
          </p:cNvSpPr>
          <p:nvPr/>
        </p:nvSpPr>
        <p:spPr>
          <a:xfrm>
            <a:off x="944420" y="2257506"/>
            <a:ext cx="4667797" cy="3500847"/>
          </a:xfrm>
          <a:prstGeom prst="rect">
            <a:avLst/>
          </a:prstGeom>
          <a:blipFill dpi="0" rotWithShape="1">
            <a:blip r:embed="rId1"/>
            <a:srcRect/>
            <a:stretch>
              <a:fillRect/>
            </a:stretch>
          </a:blipFill>
          <a:ln w="12700" cap="flat" cmpd="sng" algn="ctr">
            <a:noFill/>
            <a:prstDash val="solid"/>
            <a:miter lim="800000"/>
          </a:ln>
          <a:effectLst/>
          <a:extLst>
            <a:ext uri="{91240B29-F687-4F45-9708-019B960494DF}">
              <a14:hiddenLine xmlns:a14="http://schemas.microsoft.com/office/drawing/2010/main" w="12700">
                <a:solidFill>
                  <a:schemeClr val="dk1"/>
                </a:solidFill>
                <a:prstDash val="solid"/>
                <a:miter lim="800000"/>
                <a:headEnd/>
                <a:tailEnd/>
              </a14:hiddenLine>
            </a:ext>
          </a:extLst>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spTree>
    <p:custDataLst>
      <p:tags r:id="rId2"/>
    </p:custData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69925" y="970526"/>
            <a:ext cx="10850563" cy="386787"/>
          </a:xfrm>
        </p:spPr>
        <p:txBody>
          <a:bodyPr>
            <a:normAutofit fontScale="90000"/>
          </a:bodyPr>
          <a:lstStyle/>
          <a:p>
            <a:r>
              <a:rPr lang="en-US" altLang="zh-CN" dirty="0"/>
              <a:t>Signal processing</a:t>
            </a:r>
            <a:br>
              <a:rPr lang="en-US" altLang="zh-CN" dirty="0"/>
            </a:b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grpSp>
        <p:nvGrpSpPr>
          <p:cNvPr id="5" name="组合 4"/>
          <p:cNvGrpSpPr/>
          <p:nvPr/>
        </p:nvGrpSpPr>
        <p:grpSpPr>
          <a:xfrm>
            <a:off x="658812" y="1303897"/>
            <a:ext cx="10860088" cy="4461903"/>
            <a:chOff x="658812" y="1303897"/>
            <a:chExt cx="10860088" cy="4461903"/>
          </a:xfrm>
        </p:grpSpPr>
        <p:sp>
          <p:nvSpPr>
            <p:cNvPr id="6" name="椭圆 5"/>
            <p:cNvSpPr/>
            <p:nvPr/>
          </p:nvSpPr>
          <p:spPr>
            <a:xfrm>
              <a:off x="4007877" y="2641600"/>
              <a:ext cx="144000" cy="14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1200">
                <a:solidFill>
                  <a:srgbClr val="FFFFFF"/>
                </a:solidFill>
              </a:endParaRPr>
            </a:p>
          </p:txBody>
        </p:sp>
        <p:sp>
          <p:nvSpPr>
            <p:cNvPr id="7" name="椭圆 6"/>
            <p:cNvSpPr/>
            <p:nvPr/>
          </p:nvSpPr>
          <p:spPr>
            <a:xfrm>
              <a:off x="8027424" y="2641600"/>
              <a:ext cx="144000" cy="14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1200">
                <a:solidFill>
                  <a:srgbClr val="FFFFFF"/>
                </a:solidFill>
              </a:endParaRPr>
            </a:p>
          </p:txBody>
        </p:sp>
        <p:grpSp>
          <p:nvGrpSpPr>
            <p:cNvPr id="8" name="组合 7"/>
            <p:cNvGrpSpPr/>
            <p:nvPr/>
          </p:nvGrpSpPr>
          <p:grpSpPr>
            <a:xfrm>
              <a:off x="658812" y="1303897"/>
              <a:ext cx="10860088" cy="2819407"/>
              <a:chOff x="658812" y="1303897"/>
              <a:chExt cx="10860088" cy="2819407"/>
            </a:xfrm>
          </p:grpSpPr>
          <p:grpSp>
            <p:nvGrpSpPr>
              <p:cNvPr id="10" name="组合 9"/>
              <p:cNvGrpSpPr/>
              <p:nvPr/>
            </p:nvGrpSpPr>
            <p:grpSpPr>
              <a:xfrm>
                <a:off x="658812" y="1303897"/>
                <a:ext cx="2830519" cy="2819407"/>
                <a:chOff x="1294134" y="2508250"/>
                <a:chExt cx="2256760" cy="2247900"/>
              </a:xfrm>
            </p:grpSpPr>
            <p:sp>
              <p:nvSpPr>
                <p:cNvPr id="19" name="椭圆 18"/>
                <p:cNvSpPr/>
                <p:nvPr/>
              </p:nvSpPr>
              <p:spPr>
                <a:xfrm>
                  <a:off x="1295400" y="2508250"/>
                  <a:ext cx="2247900" cy="2247900"/>
                </a:xfrm>
                <a:prstGeom prst="ellipse">
                  <a:avLst/>
                </a:prstGeom>
                <a:solidFill>
                  <a:schemeClr val="accent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lnSpc>
                      <a:spcPct val="150000"/>
                    </a:lnSpc>
                    <a:buSzPct val="25000"/>
                    <a:defRPr/>
                  </a:pPr>
                  <a:endParaRPr kumimoji="0" lang="en-US" altLang="zh-CN" sz="1400" b="1" i="0" u="none" strike="noStrike" kern="1200" cap="none" spc="0" normalizeH="0" baseline="0" noProof="0" dirty="0">
                    <a:ln>
                      <a:noFill/>
                    </a:ln>
                    <a:solidFill>
                      <a:schemeClr val="tx1"/>
                    </a:solidFill>
                    <a:effectLst/>
                    <a:uLnTx/>
                    <a:uFillTx/>
                  </a:endParaRPr>
                </a:p>
              </p:txBody>
            </p:sp>
            <p:sp>
              <p:nvSpPr>
                <p:cNvPr id="20" name="文本框 19"/>
                <p:cNvSpPr txBox="1"/>
                <p:nvPr/>
              </p:nvSpPr>
              <p:spPr>
                <a:xfrm>
                  <a:off x="1551965" y="2816633"/>
                  <a:ext cx="1734770" cy="417161"/>
                </a:xfrm>
                <a:prstGeom prst="rect">
                  <a:avLst/>
                </a:prstGeom>
                <a:noFill/>
              </p:spPr>
              <p:txBody>
                <a:bodyPr wrap="square" rtlCol="0">
                  <a:spAutoFit/>
                </a:bodyPr>
                <a:lstStyle/>
                <a:p>
                  <a:pPr algn="ctr"/>
                  <a:r>
                    <a:rPr kumimoji="0" lang="en-US" sz="1400" b="1" i="0" u="none" strike="noStrike" kern="1200" cap="none" spc="0" normalizeH="0" baseline="0" noProof="0" dirty="0">
                      <a:ln>
                        <a:noFill/>
                      </a:ln>
                      <a:solidFill>
                        <a:schemeClr val="tx1"/>
                      </a:solidFill>
                      <a:effectLst/>
                      <a:uLnTx/>
                      <a:uFillTx/>
                    </a:rPr>
                    <a:t>Acoustic feature extraction</a:t>
                  </a:r>
                  <a:endParaRPr kumimoji="0" lang="en-US" sz="1400" b="1" i="0" u="none" strike="noStrike" kern="1200" cap="none" spc="0" normalizeH="0" baseline="0" noProof="0" dirty="0">
                    <a:ln>
                      <a:noFill/>
                    </a:ln>
                    <a:solidFill>
                      <a:schemeClr val="tx1"/>
                    </a:solidFill>
                    <a:effectLst/>
                    <a:uLnTx/>
                    <a:uFillTx/>
                  </a:endParaRPr>
                </a:p>
              </p:txBody>
            </p:sp>
            <p:sp>
              <p:nvSpPr>
                <p:cNvPr id="21" name="文本框 20"/>
                <p:cNvSpPr txBox="1"/>
                <p:nvPr/>
              </p:nvSpPr>
              <p:spPr>
                <a:xfrm>
                  <a:off x="1294134" y="3233366"/>
                  <a:ext cx="2256760" cy="1150618"/>
                </a:xfrm>
                <a:prstGeom prst="rect">
                  <a:avLst/>
                </a:prstGeom>
                <a:noFill/>
              </p:spPr>
              <p:txBody>
                <a:bodyPr wrap="square" rtlCol="0">
                  <a:spAutoFit/>
                </a:bodyPr>
                <a:lstStyle/>
                <a:p>
                  <a:pPr algn="ctr">
                    <a:lnSpc>
                      <a:spcPct val="150000"/>
                    </a:lnSpc>
                  </a:pPr>
                  <a:r>
                    <a:rPr kumimoji="0" lang="en-US" sz="1200" i="0" u="none" strike="noStrike" kern="1200" cap="none" spc="0" normalizeH="0" baseline="0" noProof="0" dirty="0">
                      <a:ln>
                        <a:noFill/>
                      </a:ln>
                      <a:solidFill>
                        <a:schemeClr val="tx1"/>
                      </a:solidFill>
                      <a:effectLst/>
                      <a:uLnTx/>
                      <a:uFillTx/>
                    </a:rPr>
                    <a:t>The process of extracting relevant sound features from speech signals. These features are used to describe the time-domain and frequency-domain characteristics of sound</a:t>
                  </a:r>
                  <a:endParaRPr kumimoji="0" lang="en-GB" sz="1200" i="0" u="none" strike="noStrike" kern="1200" cap="none" spc="0" normalizeH="0" baseline="0" noProof="0" dirty="0">
                    <a:ln>
                      <a:noFill/>
                    </a:ln>
                    <a:solidFill>
                      <a:schemeClr val="tx1"/>
                    </a:solidFill>
                    <a:effectLst/>
                    <a:uLnTx/>
                    <a:uFillTx/>
                  </a:endParaRPr>
                </a:p>
              </p:txBody>
            </p:sp>
          </p:grpSp>
          <p:grpSp>
            <p:nvGrpSpPr>
              <p:cNvPr id="11" name="组合 10"/>
              <p:cNvGrpSpPr/>
              <p:nvPr/>
            </p:nvGrpSpPr>
            <p:grpSpPr>
              <a:xfrm>
                <a:off x="4591610" y="1303897"/>
                <a:ext cx="3008780" cy="2819407"/>
                <a:chOff x="1224969" y="2508250"/>
                <a:chExt cx="2398886" cy="2247900"/>
              </a:xfrm>
            </p:grpSpPr>
            <p:sp>
              <p:nvSpPr>
                <p:cNvPr id="16" name="椭圆 15"/>
                <p:cNvSpPr/>
                <p:nvPr/>
              </p:nvSpPr>
              <p:spPr>
                <a:xfrm>
                  <a:off x="1295400" y="2508250"/>
                  <a:ext cx="2247900" cy="2247900"/>
                </a:xfrm>
                <a:prstGeom prst="ellipse">
                  <a:avLst/>
                </a:prstGeom>
                <a:solidFill>
                  <a:schemeClr val="accent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lnSpc>
                      <a:spcPct val="150000"/>
                    </a:lnSpc>
                    <a:buSzPct val="25000"/>
                    <a:defRPr/>
                  </a:pPr>
                  <a:endParaRPr kumimoji="0" lang="en-US" altLang="zh-CN" sz="1400" b="1" i="0" u="none" strike="noStrike" kern="1200" cap="none" spc="0" normalizeH="0" baseline="0" noProof="0" dirty="0">
                    <a:ln>
                      <a:noFill/>
                    </a:ln>
                    <a:solidFill>
                      <a:schemeClr val="tx1"/>
                    </a:solidFill>
                    <a:effectLst/>
                    <a:uLnTx/>
                    <a:uFillTx/>
                  </a:endParaRPr>
                </a:p>
              </p:txBody>
            </p:sp>
            <p:sp>
              <p:nvSpPr>
                <p:cNvPr id="17" name="文本框 16"/>
                <p:cNvSpPr txBox="1"/>
                <p:nvPr/>
              </p:nvSpPr>
              <p:spPr>
                <a:xfrm>
                  <a:off x="1557027" y="2816633"/>
                  <a:ext cx="1734770" cy="245389"/>
                </a:xfrm>
                <a:prstGeom prst="rect">
                  <a:avLst/>
                </a:prstGeom>
                <a:noFill/>
              </p:spPr>
              <p:txBody>
                <a:bodyPr wrap="square" rtlCol="0">
                  <a:spAutoFit/>
                </a:bodyPr>
                <a:lstStyle/>
                <a:p>
                  <a:pPr algn="ctr"/>
                  <a:r>
                    <a:rPr kumimoji="0" lang="en-US" sz="1400" b="1" i="0" u="none" strike="noStrike" kern="1200" cap="none" spc="0" normalizeH="0" baseline="0" noProof="0" dirty="0">
                      <a:ln>
                        <a:noFill/>
                      </a:ln>
                      <a:solidFill>
                        <a:schemeClr val="tx1"/>
                      </a:solidFill>
                      <a:effectLst/>
                      <a:uLnTx/>
                      <a:uFillTx/>
                    </a:rPr>
                    <a:t>Phoneme alignment</a:t>
                  </a:r>
                  <a:endParaRPr kumimoji="0" lang="en-US" sz="1400" b="1" i="0" u="none" strike="noStrike" kern="1200" cap="none" spc="0" normalizeH="0" baseline="0" noProof="0" dirty="0">
                    <a:ln>
                      <a:noFill/>
                    </a:ln>
                    <a:solidFill>
                      <a:schemeClr val="tx1"/>
                    </a:solidFill>
                    <a:effectLst/>
                    <a:uLnTx/>
                    <a:uFillTx/>
                  </a:endParaRPr>
                </a:p>
              </p:txBody>
            </p:sp>
            <p:sp>
              <p:nvSpPr>
                <p:cNvPr id="18" name="文本框 17"/>
                <p:cNvSpPr txBox="1"/>
                <p:nvPr/>
              </p:nvSpPr>
              <p:spPr>
                <a:xfrm>
                  <a:off x="1224969" y="3233366"/>
                  <a:ext cx="2398886" cy="1371468"/>
                </a:xfrm>
                <a:prstGeom prst="rect">
                  <a:avLst/>
                </a:prstGeom>
                <a:noFill/>
              </p:spPr>
              <p:txBody>
                <a:bodyPr wrap="square" rtlCol="0">
                  <a:spAutoFit/>
                </a:bodyPr>
                <a:lstStyle/>
                <a:p>
                  <a:pPr algn="ctr">
                    <a:lnSpc>
                      <a:spcPct val="150000"/>
                    </a:lnSpc>
                  </a:pPr>
                  <a:r>
                    <a:rPr kumimoji="0" lang="en-US" sz="1200" i="0" u="none" strike="noStrike" kern="1200" cap="none" spc="0" normalizeH="0" baseline="0" noProof="0" dirty="0">
                      <a:ln>
                        <a:noFill/>
                      </a:ln>
                      <a:solidFill>
                        <a:schemeClr val="tx1"/>
                      </a:solidFill>
                      <a:effectLst/>
                      <a:uLnTx/>
                      <a:uFillTx/>
                    </a:rPr>
                    <a:t>The process of aligning input text with phonemes (phonetic units)</a:t>
                  </a:r>
                  <a:r>
                    <a:rPr lang="en-US" sz="1200" dirty="0"/>
                    <a:t>. Text is usually converted into a sequence of phonemes, each representing a basic unit in speech.</a:t>
                  </a:r>
                  <a:endParaRPr lang="en-US" sz="1200" dirty="0"/>
                </a:p>
                <a:p>
                  <a:pPr algn="ctr">
                    <a:lnSpc>
                      <a:spcPct val="150000"/>
                    </a:lnSpc>
                  </a:pPr>
                  <a:r>
                    <a:rPr kumimoji="0" lang="en-US" sz="1200" i="0" u="none" strike="noStrike" kern="1200" cap="none" spc="0" normalizeH="0" baseline="0" noProof="0" dirty="0">
                      <a:ln>
                        <a:noFill/>
                      </a:ln>
                      <a:solidFill>
                        <a:schemeClr val="tx1"/>
                      </a:solidFill>
                      <a:effectLst/>
                      <a:uLnTx/>
                      <a:uFillTx/>
                    </a:rPr>
                    <a:t>It determines the length and position of each phoneme</a:t>
                  </a:r>
                  <a:endParaRPr kumimoji="0" lang="en-GB" sz="1200" i="0" u="none" strike="noStrike" kern="1200" cap="none" spc="0" normalizeH="0" baseline="0" noProof="0" dirty="0">
                    <a:ln>
                      <a:noFill/>
                    </a:ln>
                    <a:solidFill>
                      <a:schemeClr val="tx1"/>
                    </a:solidFill>
                    <a:effectLst/>
                    <a:uLnTx/>
                    <a:uFillTx/>
                  </a:endParaRPr>
                </a:p>
              </p:txBody>
            </p:sp>
          </p:grpSp>
          <p:grpSp>
            <p:nvGrpSpPr>
              <p:cNvPr id="12" name="组合 11"/>
              <p:cNvGrpSpPr/>
              <p:nvPr/>
            </p:nvGrpSpPr>
            <p:grpSpPr>
              <a:xfrm>
                <a:off x="8655839" y="1303897"/>
                <a:ext cx="2863061" cy="2819407"/>
                <a:chOff x="1260595" y="2508250"/>
                <a:chExt cx="2282705" cy="2247900"/>
              </a:xfrm>
            </p:grpSpPr>
            <p:sp>
              <p:nvSpPr>
                <p:cNvPr id="13" name="椭圆 12"/>
                <p:cNvSpPr/>
                <p:nvPr/>
              </p:nvSpPr>
              <p:spPr>
                <a:xfrm>
                  <a:off x="1295400" y="2508250"/>
                  <a:ext cx="2247900" cy="2247900"/>
                </a:xfrm>
                <a:prstGeom prst="ellipse">
                  <a:avLst/>
                </a:prstGeom>
                <a:solidFill>
                  <a:schemeClr val="accent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lnSpc>
                      <a:spcPct val="150000"/>
                    </a:lnSpc>
                    <a:buSzPct val="25000"/>
                    <a:defRPr/>
                  </a:pPr>
                  <a:endParaRPr kumimoji="0" lang="en-US" altLang="zh-CN" sz="1400" b="1" i="0" u="none" strike="noStrike" kern="1200" cap="none" spc="0" normalizeH="0" baseline="0" noProof="0" dirty="0">
                    <a:ln>
                      <a:noFill/>
                    </a:ln>
                    <a:solidFill>
                      <a:schemeClr val="tx1"/>
                    </a:solidFill>
                    <a:effectLst/>
                    <a:uLnTx/>
                    <a:uFillTx/>
                  </a:endParaRPr>
                </a:p>
              </p:txBody>
            </p:sp>
            <p:sp>
              <p:nvSpPr>
                <p:cNvPr id="14" name="文本框 13"/>
                <p:cNvSpPr txBox="1"/>
                <p:nvPr/>
              </p:nvSpPr>
              <p:spPr>
                <a:xfrm>
                  <a:off x="1546080" y="2818322"/>
                  <a:ext cx="1734770" cy="417161"/>
                </a:xfrm>
                <a:prstGeom prst="rect">
                  <a:avLst/>
                </a:prstGeom>
                <a:noFill/>
              </p:spPr>
              <p:txBody>
                <a:bodyPr wrap="square" rtlCol="0">
                  <a:spAutoFit/>
                </a:bodyPr>
                <a:lstStyle/>
                <a:p>
                  <a:pPr algn="ctr"/>
                  <a:r>
                    <a:rPr kumimoji="0" lang="en-US" sz="1400" b="1" i="0" u="none" strike="noStrike" kern="1200" cap="none" spc="0" normalizeH="0" baseline="0" noProof="0" dirty="0">
                      <a:ln>
                        <a:noFill/>
                      </a:ln>
                      <a:solidFill>
                        <a:schemeClr val="tx1"/>
                      </a:solidFill>
                      <a:effectLst/>
                      <a:uLnTx/>
                      <a:uFillTx/>
                    </a:rPr>
                    <a:t>Speech synthesis parameter generation</a:t>
                  </a:r>
                  <a:endParaRPr kumimoji="0" lang="en-US" sz="1400" b="1" i="0" u="none" strike="noStrike" kern="1200" cap="none" spc="0" normalizeH="0" baseline="0" noProof="0" dirty="0">
                    <a:ln>
                      <a:noFill/>
                    </a:ln>
                    <a:solidFill>
                      <a:schemeClr val="tx1"/>
                    </a:solidFill>
                    <a:effectLst/>
                    <a:uLnTx/>
                    <a:uFillTx/>
                  </a:endParaRPr>
                </a:p>
              </p:txBody>
            </p:sp>
            <p:sp>
              <p:nvSpPr>
                <p:cNvPr id="15" name="文本框 14"/>
                <p:cNvSpPr txBox="1"/>
                <p:nvPr/>
              </p:nvSpPr>
              <p:spPr>
                <a:xfrm>
                  <a:off x="1260595" y="3233366"/>
                  <a:ext cx="2247900" cy="1371469"/>
                </a:xfrm>
                <a:prstGeom prst="rect">
                  <a:avLst/>
                </a:prstGeom>
                <a:noFill/>
              </p:spPr>
              <p:txBody>
                <a:bodyPr wrap="square" rtlCol="0">
                  <a:spAutoFit/>
                </a:bodyPr>
                <a:lstStyle/>
                <a:p>
                  <a:pPr algn="ctr">
                    <a:lnSpc>
                      <a:spcPct val="150000"/>
                    </a:lnSpc>
                  </a:pPr>
                  <a:r>
                    <a:rPr lang="en-US" sz="1200" dirty="0"/>
                    <a:t>B</a:t>
                  </a:r>
                  <a:r>
                    <a:rPr kumimoji="0" lang="en-US" sz="1200" i="0" u="none" strike="noStrike" kern="1200" cap="none" spc="0" normalizeH="0" baseline="0" noProof="0" dirty="0" err="1">
                      <a:ln>
                        <a:noFill/>
                      </a:ln>
                      <a:solidFill>
                        <a:schemeClr val="tx1"/>
                      </a:solidFill>
                      <a:effectLst/>
                      <a:uLnTx/>
                      <a:uFillTx/>
                    </a:rPr>
                    <a:t>ased</a:t>
                  </a:r>
                  <a:r>
                    <a:rPr kumimoji="0" lang="en-US" sz="1200" i="0" u="none" strike="noStrike" kern="1200" cap="none" spc="0" normalizeH="0" baseline="0" noProof="0" dirty="0">
                      <a:ln>
                        <a:noFill/>
                      </a:ln>
                      <a:solidFill>
                        <a:schemeClr val="tx1"/>
                      </a:solidFill>
                      <a:effectLst/>
                      <a:uLnTx/>
                      <a:uFillTx/>
                    </a:rPr>
                    <a:t> on the input text and aligned phonemes, a sequence of parameters for synthesizing speech is generated. These parameters describe characteristics such as the length, frequency and intensity of a sound.</a:t>
                  </a:r>
                  <a:endParaRPr kumimoji="0" lang="en-GB" sz="1200" i="0" u="none" strike="noStrike" kern="1200" cap="none" spc="0" normalizeH="0" baseline="0" noProof="0" dirty="0">
                    <a:ln>
                      <a:noFill/>
                    </a:ln>
                    <a:solidFill>
                      <a:schemeClr val="tx1"/>
                    </a:solidFill>
                    <a:effectLst/>
                    <a:uLnTx/>
                    <a:uFillTx/>
                  </a:endParaRPr>
                </a:p>
              </p:txBody>
            </p:sp>
          </p:grpSp>
        </p:grpSp>
        <p:sp>
          <p:nvSpPr>
            <p:cNvPr id="9" name="圆角矩形 22"/>
            <p:cNvSpPr/>
            <p:nvPr/>
          </p:nvSpPr>
          <p:spPr>
            <a:xfrm>
              <a:off x="660400" y="4216400"/>
              <a:ext cx="10858500" cy="1549400"/>
            </a:xfrm>
            <a:prstGeom prst="roundRect">
              <a:avLst>
                <a:gd name="adj" fmla="val 50000"/>
              </a:avLst>
            </a:prstGeom>
            <a:blipFill>
              <a:blip r:embed="rId1"/>
              <a:stretch>
                <a:fillRect t="-169838" b="-167076"/>
              </a:stretch>
            </a:blipFill>
            <a:ln w="38100">
              <a:noFill/>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Autofit/>
            </a:bodyPr>
            <a:lstStyle/>
            <a:p>
              <a:pPr algn="ctr"/>
              <a:endParaRPr lang="en-GB"/>
            </a:p>
          </p:txBody>
        </p:sp>
      </p:grpSp>
    </p:spTree>
    <p:custDataLst>
      <p:tags r:id="rId2"/>
    </p:custData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椭圆 21"/>
          <p:cNvSpPr/>
          <p:nvPr/>
        </p:nvSpPr>
        <p:spPr>
          <a:xfrm>
            <a:off x="7851280" y="4714670"/>
            <a:ext cx="1228725" cy="1228725"/>
          </a:xfrm>
          <a:prstGeom prst="ellipse">
            <a:avLst/>
          </a:prstGeom>
          <a:solidFill>
            <a:schemeClr val="accent6"/>
          </a:solidFill>
          <a:ln w="12700" cap="rnd">
            <a:noFill/>
            <a:prstDash val="solid"/>
            <a:round/>
          </a:ln>
          <a:effectLst>
            <a:outerShdw blurRad="254000" dist="127000" algn="ctr" rotWithShape="0">
              <a:schemeClr val="accent6">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defTabSz="914400"/>
            <a:endParaRPr lang="zh-CN" altLang="en-US" sz="2000" b="1" dirty="0">
              <a:solidFill>
                <a:schemeClr val="bg1"/>
              </a:solidFill>
            </a:endParaRPr>
          </a:p>
        </p:txBody>
      </p:sp>
      <p:sp>
        <p:nvSpPr>
          <p:cNvPr id="21" name="椭圆 20"/>
          <p:cNvSpPr/>
          <p:nvPr/>
        </p:nvSpPr>
        <p:spPr>
          <a:xfrm>
            <a:off x="4190709" y="3142420"/>
            <a:ext cx="1228725" cy="1228725"/>
          </a:xfrm>
          <a:prstGeom prst="ellipse">
            <a:avLst/>
          </a:prstGeom>
          <a:solidFill>
            <a:schemeClr val="accent1"/>
          </a:solidFill>
          <a:ln w="12700" cap="rnd">
            <a:noFill/>
            <a:prstDash val="solid"/>
            <a:round/>
          </a:ln>
          <a:effectLst>
            <a:outerShdw blurRad="254000" dist="127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1600" b="1">
              <a:solidFill>
                <a:srgbClr val="FFFFFF"/>
              </a:solidFill>
            </a:endParaRPr>
          </a:p>
        </p:txBody>
      </p:sp>
      <p:sp>
        <p:nvSpPr>
          <p:cNvPr id="2" name="标题 1"/>
          <p:cNvSpPr>
            <a:spLocks noGrp="1"/>
          </p:cNvSpPr>
          <p:nvPr>
            <p:ph type="title"/>
          </p:nvPr>
        </p:nvSpPr>
        <p:spPr/>
        <p:txBody>
          <a:bodyPr/>
          <a:lstStyle/>
          <a:p>
            <a:r>
              <a:rPr lang="en-US" altLang="zh-CN" dirty="0"/>
              <a:t>Common text-to-speech library</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grpSp>
        <p:nvGrpSpPr>
          <p:cNvPr id="5" name="组合 4"/>
          <p:cNvGrpSpPr/>
          <p:nvPr/>
        </p:nvGrpSpPr>
        <p:grpSpPr>
          <a:xfrm>
            <a:off x="849324" y="1170943"/>
            <a:ext cx="10939071" cy="5038217"/>
            <a:chOff x="857022" y="1120295"/>
            <a:chExt cx="10610138" cy="4256332"/>
          </a:xfrm>
        </p:grpSpPr>
        <p:sp>
          <p:nvSpPr>
            <p:cNvPr id="6" name="椭圆 5"/>
            <p:cNvSpPr/>
            <p:nvPr/>
          </p:nvSpPr>
          <p:spPr>
            <a:xfrm>
              <a:off x="5614796" y="2415292"/>
              <a:ext cx="1218877" cy="1105464"/>
            </a:xfrm>
            <a:prstGeom prst="ellipse">
              <a:avLst/>
            </a:prstGeom>
            <a:solidFill>
              <a:schemeClr val="accent6"/>
            </a:solidFill>
            <a:ln w="12700" cap="rnd">
              <a:noFill/>
              <a:prstDash val="solid"/>
              <a:round/>
            </a:ln>
            <a:effectLst>
              <a:outerShdw blurRad="254000" dist="127000" algn="ctr" rotWithShape="0">
                <a:schemeClr val="accent6">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defTabSz="914400"/>
              <a:endParaRPr lang="zh-CN" altLang="en-US" sz="2000" b="1" dirty="0">
                <a:solidFill>
                  <a:schemeClr val="bg1"/>
                </a:solidFill>
              </a:endParaRPr>
            </a:p>
          </p:txBody>
        </p:sp>
        <p:sp>
          <p:nvSpPr>
            <p:cNvPr id="7" name="椭圆 6"/>
            <p:cNvSpPr/>
            <p:nvPr/>
          </p:nvSpPr>
          <p:spPr>
            <a:xfrm>
              <a:off x="3294392" y="4029474"/>
              <a:ext cx="1191778" cy="1145663"/>
            </a:xfrm>
            <a:prstGeom prst="ellipse">
              <a:avLst/>
            </a:prstGeom>
            <a:solidFill>
              <a:schemeClr val="accent5"/>
            </a:solidFill>
            <a:ln w="12700" cap="rnd">
              <a:noFill/>
              <a:prstDash val="solid"/>
              <a:round/>
            </a:ln>
            <a:effectLst>
              <a:outerShdw blurRad="254000" dist="127000" algn="ctr" rotWithShape="0">
                <a:schemeClr val="accent5">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1600" b="1" dirty="0">
                <a:solidFill>
                  <a:srgbClr val="FFFFFF"/>
                </a:solidFill>
              </a:endParaRPr>
            </a:p>
          </p:txBody>
        </p:sp>
        <p:sp>
          <p:nvSpPr>
            <p:cNvPr id="8" name="椭圆 7"/>
            <p:cNvSpPr/>
            <p:nvPr/>
          </p:nvSpPr>
          <p:spPr>
            <a:xfrm>
              <a:off x="7025443" y="2991436"/>
              <a:ext cx="1218878" cy="1038038"/>
            </a:xfrm>
            <a:prstGeom prst="ellipse">
              <a:avLst/>
            </a:prstGeom>
            <a:solidFill>
              <a:schemeClr val="accent1"/>
            </a:solidFill>
            <a:ln w="12700" cap="rnd">
              <a:noFill/>
              <a:prstDash val="solid"/>
              <a:round/>
            </a:ln>
            <a:effectLst>
              <a:outerShdw blurRad="254000" dist="127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1600" b="1" dirty="0">
                <a:solidFill>
                  <a:srgbClr val="FFFFFF"/>
                </a:solidFill>
              </a:endParaRPr>
            </a:p>
          </p:txBody>
        </p:sp>
        <p:sp>
          <p:nvSpPr>
            <p:cNvPr id="9" name="任意多边形 6"/>
            <p:cNvSpPr/>
            <p:nvPr/>
          </p:nvSpPr>
          <p:spPr>
            <a:xfrm>
              <a:off x="3989161" y="3093811"/>
              <a:ext cx="4213678" cy="2106839"/>
            </a:xfrm>
            <a:custGeom>
              <a:avLst/>
              <a:gdLst>
                <a:gd name="connsiteX0" fmla="*/ 2106839 w 4213678"/>
                <a:gd name="connsiteY0" fmla="*/ 0 h 2106839"/>
                <a:gd name="connsiteX1" fmla="*/ 4213678 w 4213678"/>
                <a:gd name="connsiteY1" fmla="*/ 2106839 h 2106839"/>
                <a:gd name="connsiteX2" fmla="*/ 0 w 4213678"/>
                <a:gd name="connsiteY2" fmla="*/ 2106839 h 2106839"/>
                <a:gd name="connsiteX3" fmla="*/ 2106839 w 4213678"/>
                <a:gd name="connsiteY3" fmla="*/ 0 h 2106839"/>
              </a:gdLst>
              <a:ahLst/>
              <a:cxnLst>
                <a:cxn ang="0">
                  <a:pos x="connsiteX0" y="connsiteY0"/>
                </a:cxn>
                <a:cxn ang="0">
                  <a:pos x="connsiteX1" y="connsiteY1"/>
                </a:cxn>
                <a:cxn ang="0">
                  <a:pos x="connsiteX2" y="connsiteY2"/>
                </a:cxn>
                <a:cxn ang="0">
                  <a:pos x="connsiteX3" y="connsiteY3"/>
                </a:cxn>
              </a:cxnLst>
              <a:rect l="l" t="t" r="r" b="b"/>
              <a:pathLst>
                <a:path w="4213678" h="2106839">
                  <a:moveTo>
                    <a:pt x="2106839" y="0"/>
                  </a:moveTo>
                  <a:cubicBezTo>
                    <a:pt x="3270414" y="0"/>
                    <a:pt x="4213678" y="943264"/>
                    <a:pt x="4213678" y="2106839"/>
                  </a:cubicBezTo>
                  <a:lnTo>
                    <a:pt x="0" y="2106839"/>
                  </a:lnTo>
                  <a:cubicBezTo>
                    <a:pt x="0" y="943264"/>
                    <a:pt x="943264" y="0"/>
                    <a:pt x="2106839" y="0"/>
                  </a:cubicBezTo>
                  <a:close/>
                </a:path>
              </a:pathLst>
            </a:custGeom>
            <a:solidFill>
              <a:srgbClr val="FFFFFF"/>
            </a:solidFill>
            <a:ln w="12700" cap="rnd">
              <a:noFill/>
              <a:prstDash val="solid"/>
              <a:rou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defTabSz="914400"/>
              <a:endParaRPr lang="zh-CN" altLang="en-US" sz="2000" b="1">
                <a:solidFill>
                  <a:schemeClr val="bg1"/>
                </a:solidFill>
              </a:endParaRPr>
            </a:p>
          </p:txBody>
        </p:sp>
        <p:sp>
          <p:nvSpPr>
            <p:cNvPr id="10" name="文本框 9"/>
            <p:cNvSpPr txBox="1"/>
            <p:nvPr/>
          </p:nvSpPr>
          <p:spPr>
            <a:xfrm>
              <a:off x="3485124" y="4284525"/>
              <a:ext cx="585417" cy="523220"/>
            </a:xfrm>
            <a:prstGeom prst="rect">
              <a:avLst/>
            </a:prstGeom>
            <a:noFill/>
          </p:spPr>
          <p:txBody>
            <a:bodyPr wrap="square" rtlCol="0">
              <a:spAutoFit/>
            </a:bodyPr>
            <a:lstStyle/>
            <a:p>
              <a:pPr algn="ctr"/>
              <a:r>
                <a:rPr lang="en-US" altLang="zh-CN" sz="2800" b="1" i="1" dirty="0">
                  <a:solidFill>
                    <a:srgbClr val="FFFFFF"/>
                  </a:solidFill>
                </a:rPr>
                <a:t>01</a:t>
              </a:r>
              <a:endParaRPr lang="zh-CN" altLang="en-US" sz="2800" b="1" i="1" dirty="0">
                <a:solidFill>
                  <a:srgbClr val="FFFFFF"/>
                </a:solidFill>
              </a:endParaRPr>
            </a:p>
          </p:txBody>
        </p:sp>
        <p:sp>
          <p:nvSpPr>
            <p:cNvPr id="11" name="文本框 10"/>
            <p:cNvSpPr txBox="1"/>
            <p:nvPr/>
          </p:nvSpPr>
          <p:spPr>
            <a:xfrm>
              <a:off x="4272826" y="3043227"/>
              <a:ext cx="585418" cy="523220"/>
            </a:xfrm>
            <a:prstGeom prst="rect">
              <a:avLst/>
            </a:prstGeom>
            <a:noFill/>
          </p:spPr>
          <p:txBody>
            <a:bodyPr wrap="square" rtlCol="0">
              <a:spAutoFit/>
            </a:bodyPr>
            <a:lstStyle/>
            <a:p>
              <a:pPr algn="ctr"/>
              <a:r>
                <a:rPr lang="en-US" altLang="zh-CN" sz="2800" b="1" i="1" dirty="0">
                  <a:solidFill>
                    <a:srgbClr val="FFFFFF"/>
                  </a:solidFill>
                </a:rPr>
                <a:t>02</a:t>
              </a:r>
              <a:endParaRPr lang="zh-CN" altLang="en-US" sz="2800" b="1" i="1" dirty="0">
                <a:solidFill>
                  <a:srgbClr val="FFFFFF"/>
                </a:solidFill>
              </a:endParaRPr>
            </a:p>
          </p:txBody>
        </p:sp>
        <p:sp>
          <p:nvSpPr>
            <p:cNvPr id="12" name="文本框 11"/>
            <p:cNvSpPr txBox="1"/>
            <p:nvPr/>
          </p:nvSpPr>
          <p:spPr>
            <a:xfrm>
              <a:off x="5803100" y="2598735"/>
              <a:ext cx="585417" cy="523220"/>
            </a:xfrm>
            <a:prstGeom prst="rect">
              <a:avLst/>
            </a:prstGeom>
            <a:noFill/>
          </p:spPr>
          <p:txBody>
            <a:bodyPr wrap="square" rtlCol="0">
              <a:spAutoFit/>
            </a:bodyPr>
            <a:lstStyle/>
            <a:p>
              <a:pPr algn="ctr"/>
              <a:r>
                <a:rPr lang="en-US" altLang="zh-CN" sz="2800" b="1" i="1" dirty="0">
                  <a:solidFill>
                    <a:srgbClr val="FFFFFF"/>
                  </a:solidFill>
                </a:rPr>
                <a:t>03</a:t>
              </a:r>
              <a:endParaRPr lang="zh-CN" altLang="en-US" sz="2800" b="1" i="1" dirty="0">
                <a:solidFill>
                  <a:srgbClr val="FFFFFF"/>
                </a:solidFill>
              </a:endParaRPr>
            </a:p>
          </p:txBody>
        </p:sp>
        <p:sp>
          <p:nvSpPr>
            <p:cNvPr id="13" name="文本框 12"/>
            <p:cNvSpPr txBox="1"/>
            <p:nvPr/>
          </p:nvSpPr>
          <p:spPr>
            <a:xfrm>
              <a:off x="4298397" y="4099110"/>
              <a:ext cx="3496328" cy="830997"/>
            </a:xfrm>
            <a:prstGeom prst="rect">
              <a:avLst/>
            </a:prstGeom>
            <a:noFill/>
          </p:spPr>
          <p:txBody>
            <a:bodyPr wrap="square">
              <a:spAutoFit/>
            </a:bodyPr>
            <a:lstStyle>
              <a:defPPr>
                <a:defRPr lang="zh-CN"/>
              </a:defPPr>
              <a:lvl1pPr marR="0" lvl="0" indent="0" algn="ctr" defTabSz="913765" fontAlgn="auto">
                <a:lnSpc>
                  <a:spcPct val="100000"/>
                </a:lnSpc>
                <a:spcBef>
                  <a:spcPts val="0"/>
                </a:spcBef>
                <a:spcAft>
                  <a:spcPts val="0"/>
                </a:spcAft>
                <a:buClrTx/>
                <a:buSzPct val="25000"/>
                <a:buFontTx/>
                <a:buNone/>
                <a:defRPr kumimoji="0" sz="2400" b="1" i="0" u="none" strike="noStrike" cap="none" spc="0" normalizeH="0" baseline="0">
                  <a:ln>
                    <a:noFill/>
                  </a:ln>
                  <a:solidFill>
                    <a:schemeClr val="bg2">
                      <a:lumMod val="10000"/>
                    </a:schemeClr>
                  </a:solidFill>
                  <a:effectLst/>
                  <a:uLnTx/>
                  <a:uFillTx/>
                </a:defRPr>
              </a:lvl1pPr>
            </a:lstStyle>
            <a:p>
              <a:r>
                <a:rPr lang="en-US" altLang="zh-CN" dirty="0"/>
                <a:t>Common text-to-speech library</a:t>
              </a:r>
              <a:endParaRPr lang="en-US" altLang="zh-CN" dirty="0"/>
            </a:p>
          </p:txBody>
        </p:sp>
        <p:sp>
          <p:nvSpPr>
            <p:cNvPr id="14" name="文本框 13"/>
            <p:cNvSpPr txBox="1"/>
            <p:nvPr/>
          </p:nvSpPr>
          <p:spPr>
            <a:xfrm>
              <a:off x="857022" y="4558585"/>
              <a:ext cx="2371770" cy="717038"/>
            </a:xfrm>
            <a:prstGeom prst="rect">
              <a:avLst/>
            </a:prstGeom>
          </p:spPr>
          <p:txBody>
            <a:bodyPr wrap="square" rtlCol="0">
              <a:spAutoFit/>
            </a:bodyPr>
            <a:lstStyle>
              <a:defPPr>
                <a:defRPr lang="zh-CN"/>
              </a:defPPr>
              <a:lvl1pPr>
                <a:lnSpc>
                  <a:spcPts val="1500"/>
                </a:lnSpc>
                <a:defRPr sz="900"/>
              </a:lvl1pPr>
            </a:lstStyle>
            <a:p>
              <a:pPr algn="ctr"/>
              <a:r>
                <a:rPr lang="en-US" altLang="zh-CN" sz="1200" dirty="0"/>
                <a:t>provides high-quality speech synthesis</a:t>
              </a:r>
              <a:endParaRPr lang="en-US" altLang="zh-CN" sz="1200" dirty="0"/>
            </a:p>
            <a:p>
              <a:pPr algn="ctr"/>
              <a:r>
                <a:rPr lang="en-US" altLang="zh-CN" sz="1200" b="0" i="0" dirty="0">
                  <a:solidFill>
                    <a:srgbClr val="333333"/>
                  </a:solidFill>
                  <a:effectLst/>
                </a:rPr>
                <a:t>Supports for multiple languages and speech properties</a:t>
              </a:r>
              <a:endParaRPr lang="en-US" altLang="zh-CN" sz="1200" dirty="0"/>
            </a:p>
          </p:txBody>
        </p:sp>
        <p:sp>
          <p:nvSpPr>
            <p:cNvPr id="15" name="文本框 14"/>
            <p:cNvSpPr txBox="1"/>
            <p:nvPr/>
          </p:nvSpPr>
          <p:spPr>
            <a:xfrm>
              <a:off x="8860008" y="4504556"/>
              <a:ext cx="2607152" cy="872071"/>
            </a:xfrm>
            <a:prstGeom prst="rect">
              <a:avLst/>
            </a:prstGeom>
          </p:spPr>
          <p:txBody>
            <a:bodyPr wrap="square" rtlCol="0">
              <a:spAutoFit/>
            </a:bodyPr>
            <a:lstStyle>
              <a:defPPr>
                <a:defRPr lang="zh-CN"/>
              </a:defPPr>
              <a:lvl1pPr>
                <a:lnSpc>
                  <a:spcPts val="1500"/>
                </a:lnSpc>
                <a:defRPr sz="900"/>
              </a:lvl1pPr>
            </a:lstStyle>
            <a:p>
              <a:r>
                <a:rPr lang="en-US" altLang="zh-CN" sz="1200" dirty="0"/>
                <a:t>Advantage : Cross-platform support, </a:t>
              </a:r>
              <a:r>
                <a:rPr lang="en-US" altLang="zh-CN" sz="1200" b="0" i="0" dirty="0">
                  <a:solidFill>
                    <a:srgbClr val="333333"/>
                  </a:solidFill>
                  <a:effectLst/>
                </a:rPr>
                <a:t>interfaces and functionality similar to pyttsx3</a:t>
              </a:r>
              <a:endParaRPr lang="en-US" altLang="zh-CN" sz="1200" b="0" i="0" dirty="0">
                <a:solidFill>
                  <a:srgbClr val="333333"/>
                </a:solidFill>
                <a:effectLst/>
              </a:endParaRPr>
            </a:p>
            <a:p>
              <a:r>
                <a:rPr lang="en-US" altLang="zh-CN" sz="1200" b="0" i="0" dirty="0">
                  <a:solidFill>
                    <a:srgbClr val="333333"/>
                  </a:solidFill>
                  <a:effectLst/>
                </a:rPr>
                <a:t>Disadvantage : Inactive maintenance</a:t>
              </a:r>
              <a:endParaRPr lang="en-US" altLang="zh-CN" sz="1200" dirty="0"/>
            </a:p>
            <a:p>
              <a:endParaRPr lang="en-US" altLang="zh-CN" dirty="0"/>
            </a:p>
          </p:txBody>
        </p:sp>
        <p:sp>
          <p:nvSpPr>
            <p:cNvPr id="16" name="文本框 15"/>
            <p:cNvSpPr txBox="1"/>
            <p:nvPr/>
          </p:nvSpPr>
          <p:spPr>
            <a:xfrm>
              <a:off x="4910115" y="1497301"/>
              <a:ext cx="2536957" cy="879547"/>
            </a:xfrm>
            <a:prstGeom prst="rect">
              <a:avLst/>
            </a:prstGeom>
          </p:spPr>
          <p:txBody>
            <a:bodyPr wrap="square" rtlCol="0">
              <a:spAutoFit/>
            </a:bodyPr>
            <a:lstStyle>
              <a:defPPr>
                <a:defRPr lang="zh-CN"/>
              </a:defPPr>
              <a:lvl1pPr>
                <a:lnSpc>
                  <a:spcPts val="1500"/>
                </a:lnSpc>
                <a:defRPr sz="900"/>
              </a:lvl1pPr>
            </a:lstStyle>
            <a:p>
              <a:pPr algn="ctr"/>
              <a:r>
                <a:rPr lang="en-US" altLang="zh-CN" sz="1200" dirty="0"/>
                <a:t>Advantage : Cross-platform support, provides an intuitive interface.</a:t>
              </a:r>
              <a:endParaRPr lang="en-US" altLang="zh-CN" sz="1200" dirty="0"/>
            </a:p>
            <a:p>
              <a:pPr algn="ctr"/>
              <a:r>
                <a:rPr lang="en-US" altLang="zh-CN" sz="1200" dirty="0"/>
                <a:t>Disadvantage: Additional configuration and dependencies, </a:t>
              </a:r>
              <a:r>
                <a:rPr lang="en-US" altLang="zh-CN" sz="1200" b="0" i="0" dirty="0">
                  <a:solidFill>
                    <a:srgbClr val="333333"/>
                  </a:solidFill>
                  <a:effectLst/>
                </a:rPr>
                <a:t>Support limited</a:t>
              </a:r>
              <a:endParaRPr lang="en-US" altLang="zh-CN" sz="1200" dirty="0"/>
            </a:p>
          </p:txBody>
        </p:sp>
        <p:sp>
          <p:nvSpPr>
            <p:cNvPr id="18" name="文本框 17"/>
            <p:cNvSpPr txBox="1"/>
            <p:nvPr/>
          </p:nvSpPr>
          <p:spPr>
            <a:xfrm>
              <a:off x="1113354" y="2240105"/>
              <a:ext cx="2371770" cy="338017"/>
            </a:xfrm>
            <a:prstGeom prst="rect">
              <a:avLst/>
            </a:prstGeom>
            <a:noFill/>
          </p:spPr>
          <p:txBody>
            <a:bodyPr wrap="square" rtlCol="0">
              <a:spAutoFit/>
            </a:bodyPr>
            <a:lstStyle/>
            <a:p>
              <a:pPr algn="r"/>
              <a:r>
                <a:rPr lang="en-US" altLang="zh-CN" sz="2000" b="1" dirty="0" err="1">
                  <a:solidFill>
                    <a:schemeClr val="accent5"/>
                  </a:solidFill>
                </a:rPr>
                <a:t>espeak</a:t>
              </a:r>
              <a:endParaRPr lang="en-US" altLang="zh-CN" sz="2000" b="1" dirty="0">
                <a:solidFill>
                  <a:schemeClr val="accent5"/>
                </a:solidFill>
              </a:endParaRPr>
            </a:p>
          </p:txBody>
        </p:sp>
        <p:sp>
          <p:nvSpPr>
            <p:cNvPr id="19" name="文本框 18"/>
            <p:cNvSpPr txBox="1"/>
            <p:nvPr/>
          </p:nvSpPr>
          <p:spPr>
            <a:xfrm>
              <a:off x="9068066" y="4190441"/>
              <a:ext cx="1128068" cy="338017"/>
            </a:xfrm>
            <a:prstGeom prst="rect">
              <a:avLst/>
            </a:prstGeom>
            <a:noFill/>
          </p:spPr>
          <p:txBody>
            <a:bodyPr wrap="square" rtlCol="0">
              <a:spAutoFit/>
            </a:bodyPr>
            <a:lstStyle/>
            <a:p>
              <a:r>
                <a:rPr lang="en-US" altLang="zh-CN" sz="2000" b="1" dirty="0" err="1">
                  <a:solidFill>
                    <a:schemeClr val="accent1"/>
                  </a:solidFill>
                </a:rPr>
                <a:t>pyttsx</a:t>
              </a:r>
              <a:endParaRPr lang="en-US" altLang="zh-CN" sz="2000" b="1" dirty="0">
                <a:solidFill>
                  <a:schemeClr val="accent1"/>
                </a:solidFill>
              </a:endParaRPr>
            </a:p>
          </p:txBody>
        </p:sp>
        <p:sp>
          <p:nvSpPr>
            <p:cNvPr id="20" name="文本框 19"/>
            <p:cNvSpPr txBox="1"/>
            <p:nvPr/>
          </p:nvSpPr>
          <p:spPr>
            <a:xfrm>
              <a:off x="5531775" y="1120295"/>
              <a:ext cx="1128068" cy="338017"/>
            </a:xfrm>
            <a:prstGeom prst="rect">
              <a:avLst/>
            </a:prstGeom>
            <a:noFill/>
          </p:spPr>
          <p:txBody>
            <a:bodyPr wrap="square" rtlCol="0">
              <a:spAutoFit/>
            </a:bodyPr>
            <a:lstStyle/>
            <a:p>
              <a:pPr algn="ctr"/>
              <a:r>
                <a:rPr lang="en-US" altLang="zh-CN" sz="2000" b="1" dirty="0">
                  <a:solidFill>
                    <a:schemeClr val="accent6"/>
                  </a:solidFill>
                </a:rPr>
                <a:t>pyttsx3</a:t>
              </a:r>
              <a:endParaRPr lang="en-US" altLang="zh-CN" sz="2000" b="1" dirty="0">
                <a:solidFill>
                  <a:schemeClr val="accent6"/>
                </a:solidFill>
              </a:endParaRPr>
            </a:p>
          </p:txBody>
        </p:sp>
      </p:grpSp>
      <p:sp>
        <p:nvSpPr>
          <p:cNvPr id="24" name="文本框 23"/>
          <p:cNvSpPr txBox="1"/>
          <p:nvPr/>
        </p:nvSpPr>
        <p:spPr>
          <a:xfrm>
            <a:off x="7643677" y="3669053"/>
            <a:ext cx="6096000" cy="523220"/>
          </a:xfrm>
          <a:prstGeom prst="rect">
            <a:avLst/>
          </a:prstGeom>
          <a:noFill/>
        </p:spPr>
        <p:txBody>
          <a:bodyPr wrap="square">
            <a:spAutoFit/>
          </a:bodyPr>
          <a:lstStyle/>
          <a:p>
            <a:r>
              <a:rPr lang="en-US" altLang="zh-CN" sz="2800" b="1" i="1" dirty="0">
                <a:solidFill>
                  <a:srgbClr val="FFFFFF"/>
                </a:solidFill>
              </a:rPr>
              <a:t>04</a:t>
            </a:r>
            <a:endParaRPr lang="zh-CN" altLang="en-US" sz="2800" dirty="0"/>
          </a:p>
        </p:txBody>
      </p:sp>
      <p:sp>
        <p:nvSpPr>
          <p:cNvPr id="26" name="文本框 25"/>
          <p:cNvSpPr txBox="1"/>
          <p:nvPr/>
        </p:nvSpPr>
        <p:spPr>
          <a:xfrm>
            <a:off x="8340206" y="4965687"/>
            <a:ext cx="6685934" cy="523220"/>
          </a:xfrm>
          <a:prstGeom prst="rect">
            <a:avLst/>
          </a:prstGeom>
          <a:noFill/>
        </p:spPr>
        <p:txBody>
          <a:bodyPr wrap="square">
            <a:spAutoFit/>
          </a:bodyPr>
          <a:lstStyle/>
          <a:p>
            <a:r>
              <a:rPr lang="en-US" altLang="zh-CN" sz="2800" b="1" i="1" dirty="0">
                <a:solidFill>
                  <a:srgbClr val="FFFFFF"/>
                </a:solidFill>
              </a:rPr>
              <a:t>05</a:t>
            </a:r>
            <a:endParaRPr lang="zh-CN" altLang="en-US" sz="2800" dirty="0"/>
          </a:p>
        </p:txBody>
      </p:sp>
      <p:sp>
        <p:nvSpPr>
          <p:cNvPr id="29" name="文本框 28"/>
          <p:cNvSpPr txBox="1"/>
          <p:nvPr/>
        </p:nvSpPr>
        <p:spPr>
          <a:xfrm>
            <a:off x="403605" y="4943382"/>
            <a:ext cx="2445299" cy="400110"/>
          </a:xfrm>
          <a:prstGeom prst="rect">
            <a:avLst/>
          </a:prstGeom>
          <a:noFill/>
        </p:spPr>
        <p:txBody>
          <a:bodyPr wrap="square" rtlCol="0">
            <a:spAutoFit/>
          </a:bodyPr>
          <a:lstStyle/>
          <a:p>
            <a:pPr algn="r"/>
            <a:r>
              <a:rPr lang="en-US" altLang="zh-CN" sz="2000" b="1" dirty="0" err="1">
                <a:solidFill>
                  <a:schemeClr val="accent5"/>
                </a:solidFill>
              </a:rPr>
              <a:t>gTTS</a:t>
            </a:r>
            <a:r>
              <a:rPr lang="en-US" altLang="zh-CN" sz="2000" b="1" dirty="0">
                <a:solidFill>
                  <a:schemeClr val="accent5"/>
                </a:solidFill>
              </a:rPr>
              <a:t> </a:t>
            </a:r>
            <a:endParaRPr lang="en-US" altLang="zh-CN" sz="2000" b="1" dirty="0">
              <a:solidFill>
                <a:schemeClr val="accent5"/>
              </a:solidFill>
            </a:endParaRPr>
          </a:p>
        </p:txBody>
      </p:sp>
      <p:sp>
        <p:nvSpPr>
          <p:cNvPr id="30" name="文本框 29"/>
          <p:cNvSpPr txBox="1"/>
          <p:nvPr/>
        </p:nvSpPr>
        <p:spPr>
          <a:xfrm>
            <a:off x="1772870" y="2896571"/>
            <a:ext cx="2445299" cy="1041119"/>
          </a:xfrm>
          <a:prstGeom prst="rect">
            <a:avLst/>
          </a:prstGeom>
        </p:spPr>
        <p:txBody>
          <a:bodyPr wrap="square" rtlCol="0">
            <a:spAutoFit/>
          </a:bodyPr>
          <a:lstStyle>
            <a:defPPr>
              <a:defRPr lang="zh-CN"/>
            </a:defPPr>
            <a:lvl1pPr>
              <a:lnSpc>
                <a:spcPts val="1500"/>
              </a:lnSpc>
              <a:defRPr sz="900"/>
            </a:lvl1pPr>
          </a:lstStyle>
          <a:p>
            <a:pPr algn="ctr"/>
            <a:r>
              <a:rPr lang="en-US" altLang="zh-CN" sz="1200" dirty="0"/>
              <a:t>Open source and cross-platform, supports multiple languages and phoneme libraries, provides command line tools and API interfaces</a:t>
            </a:r>
            <a:endParaRPr lang="en-US" altLang="zh-CN" sz="1200" dirty="0"/>
          </a:p>
        </p:txBody>
      </p:sp>
      <p:sp>
        <p:nvSpPr>
          <p:cNvPr id="31" name="文本框 30"/>
          <p:cNvSpPr txBox="1"/>
          <p:nvPr/>
        </p:nvSpPr>
        <p:spPr>
          <a:xfrm>
            <a:off x="9068515" y="2854333"/>
            <a:ext cx="1163040" cy="400110"/>
          </a:xfrm>
          <a:prstGeom prst="rect">
            <a:avLst/>
          </a:prstGeom>
          <a:noFill/>
        </p:spPr>
        <p:txBody>
          <a:bodyPr wrap="square" rtlCol="0">
            <a:spAutoFit/>
          </a:bodyPr>
          <a:lstStyle/>
          <a:p>
            <a:pPr algn="ctr"/>
            <a:r>
              <a:rPr lang="en-US" altLang="zh-CN" sz="2000" b="1" dirty="0">
                <a:solidFill>
                  <a:schemeClr val="accent6"/>
                </a:solidFill>
              </a:rPr>
              <a:t>festival</a:t>
            </a:r>
            <a:endParaRPr lang="en-US" altLang="zh-CN" sz="2000" b="1" dirty="0">
              <a:solidFill>
                <a:schemeClr val="accent6"/>
              </a:solidFill>
            </a:endParaRPr>
          </a:p>
        </p:txBody>
      </p:sp>
      <p:sp>
        <p:nvSpPr>
          <p:cNvPr id="32" name="文本框 31"/>
          <p:cNvSpPr txBox="1"/>
          <p:nvPr/>
        </p:nvSpPr>
        <p:spPr>
          <a:xfrm>
            <a:off x="8535018" y="3239942"/>
            <a:ext cx="2615607" cy="656398"/>
          </a:xfrm>
          <a:prstGeom prst="rect">
            <a:avLst/>
          </a:prstGeom>
        </p:spPr>
        <p:txBody>
          <a:bodyPr wrap="square" rtlCol="0">
            <a:spAutoFit/>
          </a:bodyPr>
          <a:lstStyle>
            <a:defPPr>
              <a:defRPr lang="zh-CN"/>
            </a:defPPr>
            <a:lvl1pPr>
              <a:lnSpc>
                <a:spcPts val="1500"/>
              </a:lnSpc>
              <a:defRPr sz="900"/>
            </a:lvl1pPr>
          </a:lstStyle>
          <a:p>
            <a:pPr algn="ctr"/>
            <a:r>
              <a:rPr lang="en-US" altLang="zh-CN" sz="1200" dirty="0"/>
              <a:t>Open source and cross-platform</a:t>
            </a:r>
            <a:endParaRPr lang="en-US" altLang="zh-CN" sz="1200" dirty="0"/>
          </a:p>
          <a:p>
            <a:pPr algn="ctr"/>
            <a:r>
              <a:rPr lang="en-US" altLang="zh-CN" sz="1200" dirty="0"/>
              <a:t>Provide a variety of speech synthesis methods and algorithms</a:t>
            </a:r>
            <a:endParaRPr lang="en-US" altLang="zh-CN" sz="1200" dirty="0"/>
          </a:p>
        </p:txBody>
      </p:sp>
    </p:spTree>
    <p:custDataLst>
      <p:tags r:id="rId1"/>
    </p:custDataLst>
  </p:cSld>
  <p:clrMapOvr>
    <a:masterClrMapping/>
  </p:clrMapOvr>
</p:sld>
</file>

<file path=ppt/tags/tag1.xml><?xml version="1.0" encoding="utf-8"?>
<p:tagLst xmlns:p="http://schemas.openxmlformats.org/presentationml/2006/main">
  <p:tag name="ISLIDE.THEME" val="https://www.islide.cc;"/>
</p:tagLst>
</file>

<file path=ppt/tags/tag10.xml><?xml version="1.0" encoding="utf-8"?>
<p:tagLst xmlns:p="http://schemas.openxmlformats.org/presentationml/2006/main">
  <p:tag name="ISLIDE.DIAGRAM" val="#914679;"/>
</p:tagLst>
</file>

<file path=ppt/tags/tag11.xml><?xml version="1.0" encoding="utf-8"?>
<p:tagLst xmlns:p="http://schemas.openxmlformats.org/presentationml/2006/main">
  <p:tag name="KSO_WM_BEAUTIFY_FLAG" val=""/>
</p:tagLst>
</file>

<file path=ppt/tags/tag12.xml><?xml version="1.0" encoding="utf-8"?>
<p:tagLst xmlns:p="http://schemas.openxmlformats.org/presentationml/2006/main">
  <p:tag name="KSO_WM_BEAUTIFY_FLAG" val=""/>
</p:tagLst>
</file>

<file path=ppt/tags/tag13.xml><?xml version="1.0" encoding="utf-8"?>
<p:tagLst xmlns:p="http://schemas.openxmlformats.org/presentationml/2006/main">
  <p:tag name="KSO_WM_BEAUTIFY_FLAG" val=""/>
</p:tagLst>
</file>

<file path=ppt/tags/tag14.xml><?xml version="1.0" encoding="utf-8"?>
<p:tagLst xmlns:p="http://schemas.openxmlformats.org/presentationml/2006/main">
  <p:tag name="ISLIDE.DIAGRAM" val="#914679;"/>
</p:tagLst>
</file>

<file path=ppt/tags/tag15.xml><?xml version="1.0" encoding="utf-8"?>
<p:tagLst xmlns:p="http://schemas.openxmlformats.org/presentationml/2006/main">
  <p:tag name="KSO_WM_BEAUTIFY_FLAG" val=""/>
</p:tagLst>
</file>

<file path=ppt/tags/tag16.xml><?xml version="1.0" encoding="utf-8"?>
<p:tagLst xmlns:p="http://schemas.openxmlformats.org/presentationml/2006/main">
  <p:tag name="ISLIDE.DIAGRAM" val="#914679;"/>
</p:tagLst>
</file>

<file path=ppt/tags/tag17.xml><?xml version="1.0" encoding="utf-8"?>
<p:tagLst xmlns:p="http://schemas.openxmlformats.org/presentationml/2006/main">
  <p:tag name="KSO_WM_BEAUTIFY_FLAG" val=""/>
</p:tagLst>
</file>

<file path=ppt/tags/tag18.xml><?xml version="1.0" encoding="utf-8"?>
<p:tagLst xmlns:p="http://schemas.openxmlformats.org/presentationml/2006/main">
  <p:tag name="KSO_WM_BEAUTIFY_FLAG" val=""/>
</p:tagLst>
</file>

<file path=ppt/tags/tag19.xml><?xml version="1.0" encoding="utf-8"?>
<p:tagLst xmlns:p="http://schemas.openxmlformats.org/presentationml/2006/main">
  <p:tag name="ISLIDE.DIAGRAM" val="#914679;"/>
</p:tagLst>
</file>

<file path=ppt/tags/tag2.xml><?xml version="1.0" encoding="utf-8"?>
<p:tagLst xmlns:p="http://schemas.openxmlformats.org/presentationml/2006/main">
  <p:tag name="ISLIDE.THEME" val="https://www.islide.cc;"/>
</p:tagLst>
</file>

<file path=ppt/tags/tag20.xml><?xml version="1.0" encoding="utf-8"?>
<p:tagLst xmlns:p="http://schemas.openxmlformats.org/presentationml/2006/main">
  <p:tag name="ISLIDE.THEME" val="https://www.islide.cc;"/>
</p:tagLst>
</file>

<file path=ppt/tags/tag21.xml><?xml version="1.0" encoding="utf-8"?>
<p:tagLst xmlns:p="http://schemas.openxmlformats.org/presentationml/2006/main">
  <p:tag name="ISLIDE.DIAGRAM" val="#912403;"/>
</p:tagLst>
</file>

<file path=ppt/tags/tag22.xml><?xml version="1.0" encoding="utf-8"?>
<p:tagLst xmlns:p="http://schemas.openxmlformats.org/presentationml/2006/main">
  <p:tag name="ISLIDE.DIAGRAM" val="#988901;"/>
</p:tagLst>
</file>

<file path=ppt/tags/tag23.xml><?xml version="1.0" encoding="utf-8"?>
<p:tagLst xmlns:p="http://schemas.openxmlformats.org/presentationml/2006/main">
  <p:tag name="ISLIDE.THEME" val="https://www.islide.cc;"/>
</p:tagLst>
</file>

<file path=ppt/tags/tag24.xml><?xml version="1.0" encoding="utf-8"?>
<p:tagLst xmlns:p="http://schemas.openxmlformats.org/presentationml/2006/main">
  <p:tag name="ISLIDE.THEME" val="#212784"/>
  <p:tag name="KSO_WPP_MARK_KEY" val="a9d1a24b-de97-4515-8026-bd99f95e5227"/>
  <p:tag name="COMMONDATA" val="eyJoZGlkIjoiYWU0MDYxMWE4NzMzMGM5OGM1OGM2MDg3OTVmNzEzMTUifQ=="/>
</p:tagLst>
</file>

<file path=ppt/tags/tag3.xml><?xml version="1.0" encoding="utf-8"?>
<p:tagLst xmlns:p="http://schemas.openxmlformats.org/presentationml/2006/main">
  <p:tag name="ISLIDE.THEME" val="https://www.islide.cc;"/>
</p:tagLst>
</file>

<file path=ppt/tags/tag4.xml><?xml version="1.0" encoding="utf-8"?>
<p:tagLst xmlns:p="http://schemas.openxmlformats.org/presentationml/2006/main">
  <p:tag name="ISLIDE.THEME" val="https://www.islide.cc;"/>
</p:tagLst>
</file>

<file path=ppt/tags/tag5.xml><?xml version="1.0" encoding="utf-8"?>
<p:tagLst xmlns:p="http://schemas.openxmlformats.org/presentationml/2006/main">
  <p:tag name="ISLIDE.THEME" val="https://www.islide.cc;"/>
</p:tagLst>
</file>

<file path=ppt/tags/tag6.xml><?xml version="1.0" encoding="utf-8"?>
<p:tagLst xmlns:p="http://schemas.openxmlformats.org/presentationml/2006/main">
  <p:tag name="ISLIDE.DIAGRAM" val="#774615;"/>
</p:tagLst>
</file>

<file path=ppt/tags/tag7.xml><?xml version="1.0" encoding="utf-8"?>
<p:tagLst xmlns:p="http://schemas.openxmlformats.org/presentationml/2006/main">
  <p:tag name="ISLIDE.DIAGRAM" val="#803351;"/>
  <p:tag name="ISLIDE.PICTURE" val="#721784;"/>
</p:tagLst>
</file>

<file path=ppt/tags/tag8.xml><?xml version="1.0" encoding="utf-8"?>
<p:tagLst xmlns:p="http://schemas.openxmlformats.org/presentationml/2006/main">
  <p:tag name="ISLIDE.DIAGRAM" val="#774611;"/>
</p:tagLst>
</file>

<file path=ppt/tags/tag9.xml><?xml version="1.0" encoding="utf-8"?>
<p:tagLst xmlns:p="http://schemas.openxmlformats.org/presentationml/2006/main">
  <p:tag name="ISLIDE.DIAGRAM" val="#566842;"/>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356796"/>
      </a:accent1>
      <a:accent2>
        <a:srgbClr val="AED7EA"/>
      </a:accent2>
      <a:accent3>
        <a:srgbClr val="BEA599"/>
      </a:accent3>
      <a:accent4>
        <a:srgbClr val="827F7F"/>
      </a:accent4>
      <a:accent5>
        <a:srgbClr val="6B6B6B"/>
      </a:accent5>
      <a:accent6>
        <a:srgbClr val="525252"/>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356796"/>
    </a:accent1>
    <a:accent2>
      <a:srgbClr val="AED7EA"/>
    </a:accent2>
    <a:accent3>
      <a:srgbClr val="BEA599"/>
    </a:accent3>
    <a:accent4>
      <a:srgbClr val="827F7F"/>
    </a:accent4>
    <a:accent5>
      <a:srgbClr val="6B6B6B"/>
    </a:accent5>
    <a:accent6>
      <a:srgbClr val="525252"/>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356796"/>
    </a:accent1>
    <a:accent2>
      <a:srgbClr val="AED7EA"/>
    </a:accent2>
    <a:accent3>
      <a:srgbClr val="BEA599"/>
    </a:accent3>
    <a:accent4>
      <a:srgbClr val="827F7F"/>
    </a:accent4>
    <a:accent5>
      <a:srgbClr val="6B6B6B"/>
    </a:accent5>
    <a:accent6>
      <a:srgbClr val="525252"/>
    </a:accent6>
    <a:hlink>
      <a:srgbClr val="4276AA"/>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356796"/>
    </a:accent1>
    <a:accent2>
      <a:srgbClr val="AED7EA"/>
    </a:accent2>
    <a:accent3>
      <a:srgbClr val="BEA599"/>
    </a:accent3>
    <a:accent4>
      <a:srgbClr val="827F7F"/>
    </a:accent4>
    <a:accent5>
      <a:srgbClr val="6B6B6B"/>
    </a:accent5>
    <a:accent6>
      <a:srgbClr val="525252"/>
    </a:accent6>
    <a:hlink>
      <a:srgbClr val="4276AA"/>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356796"/>
    </a:accent1>
    <a:accent2>
      <a:srgbClr val="AED7EA"/>
    </a:accent2>
    <a:accent3>
      <a:srgbClr val="BEA599"/>
    </a:accent3>
    <a:accent4>
      <a:srgbClr val="827F7F"/>
    </a:accent4>
    <a:accent5>
      <a:srgbClr val="6B6B6B"/>
    </a:accent5>
    <a:accent6>
      <a:srgbClr val="525252"/>
    </a:accent6>
    <a:hlink>
      <a:srgbClr val="4276AA"/>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356796"/>
    </a:accent1>
    <a:accent2>
      <a:srgbClr val="AED7EA"/>
    </a:accent2>
    <a:accent3>
      <a:srgbClr val="BEA599"/>
    </a:accent3>
    <a:accent4>
      <a:srgbClr val="827F7F"/>
    </a:accent4>
    <a:accent5>
      <a:srgbClr val="6B6B6B"/>
    </a:accent5>
    <a:accent6>
      <a:srgbClr val="525252"/>
    </a:accent6>
    <a:hlink>
      <a:srgbClr val="4276AA"/>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68394"/>
    </a:dk2>
    <a:lt2>
      <a:srgbClr val="F0F0F0"/>
    </a:lt2>
    <a:accent1>
      <a:srgbClr val="356796"/>
    </a:accent1>
    <a:accent2>
      <a:srgbClr val="AED7EA"/>
    </a:accent2>
    <a:accent3>
      <a:srgbClr val="BEA599"/>
    </a:accent3>
    <a:accent4>
      <a:srgbClr val="827F7F"/>
    </a:accent4>
    <a:accent5>
      <a:srgbClr val="6B6B6B"/>
    </a:accent5>
    <a:accent6>
      <a:srgbClr val="525252"/>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0</TotalTime>
  <Words>6538</Words>
  <Application>WPS 演示</Application>
  <PresentationFormat>宽屏</PresentationFormat>
  <Paragraphs>290</Paragraphs>
  <Slides>17</Slides>
  <Notes>0</Notes>
  <HiddenSlides>0</HiddenSlides>
  <MMClips>0</MMClips>
  <ScaleCrop>false</ScaleCrop>
  <HeadingPairs>
    <vt:vector size="8" baseType="variant">
      <vt:variant>
        <vt:lpstr>已用的字体</vt:lpstr>
      </vt:variant>
      <vt:variant>
        <vt:i4>10</vt:i4>
      </vt:variant>
      <vt:variant>
        <vt:lpstr>主题</vt:lpstr>
      </vt:variant>
      <vt:variant>
        <vt:i4>1</vt:i4>
      </vt:variant>
      <vt:variant>
        <vt:lpstr>嵌入 OLE 服务器</vt:lpstr>
      </vt:variant>
      <vt:variant>
        <vt:i4>2</vt:i4>
      </vt:variant>
      <vt:variant>
        <vt:lpstr>幻灯片标题</vt:lpstr>
      </vt:variant>
      <vt:variant>
        <vt:i4>17</vt:i4>
      </vt:variant>
    </vt:vector>
  </HeadingPairs>
  <TitlesOfParts>
    <vt:vector size="30" baseType="lpstr">
      <vt:lpstr>Arial</vt:lpstr>
      <vt:lpstr>宋体</vt:lpstr>
      <vt:lpstr>Wingdings</vt:lpstr>
      <vt:lpstr>微软雅黑</vt:lpstr>
      <vt:lpstr>黑体</vt:lpstr>
      <vt:lpstr>Impact</vt:lpstr>
      <vt:lpstr>Tahoma</vt:lpstr>
      <vt:lpstr>Cambria Math</vt:lpstr>
      <vt:lpstr>Arial Unicode MS</vt:lpstr>
      <vt:lpstr>Calibri</vt:lpstr>
      <vt:lpstr>主题5</vt:lpstr>
      <vt:lpstr>TCLayout.ActiveDocument.1</vt:lpstr>
      <vt:lpstr>TCLayout.ActiveDocument.1</vt:lpstr>
      <vt:lpstr>Text-to-Speech based on pyttsx3</vt:lpstr>
      <vt:lpstr>PowerPoint 演示文稿</vt:lpstr>
      <vt:lpstr>Background</vt:lpstr>
      <vt:lpstr>Background</vt:lpstr>
      <vt:lpstr>Implementation</vt:lpstr>
      <vt:lpstr>Theoretical introduction</vt:lpstr>
      <vt:lpstr>Speech synthesis</vt:lpstr>
      <vt:lpstr>Signal processing </vt:lpstr>
      <vt:lpstr>Common text-to-speech library</vt:lpstr>
      <vt:lpstr>Introduction to pyttsx3</vt:lpstr>
      <vt:lpstr>Results Analysis：Pitch</vt:lpstr>
      <vt:lpstr>Results Analysis: Vocal Tract</vt:lpstr>
      <vt:lpstr>Results Analysis: Formants</vt:lpstr>
      <vt:lpstr>Thinking</vt:lpstr>
      <vt:lpstr>Improvement</vt:lpstr>
      <vt:lpstr>Future Application</vt:lpstr>
      <vt:lpstr>Thank for  your listening </vt:lpstr>
    </vt:vector>
  </TitlesOfParts>
  <Company>iSlide</Company>
  <LinksUpToDate>false</LinksUpToDate>
  <SharedDoc>false</SharedDoc>
  <HyperlinksChanged>false</HyperlinksChanged>
  <AppVersion>14.0000</AppVersion>
  <Manager>iSlide</Manager>
  <HyperlinkBase>https://www.islide.cc</HyperlinkBase>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0531</cp:lastModifiedBy>
  <cp:revision>15</cp:revision>
  <cp:lastPrinted>2018-08-16T16:00:00Z</cp:lastPrinted>
  <dcterms:created xsi:type="dcterms:W3CDTF">2018-08-16T16:00:00Z</dcterms:created>
  <dcterms:modified xsi:type="dcterms:W3CDTF">2023-05-30T00:40: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ICV">
    <vt:lpwstr>61B504A8267F4C4C8DB11869C9B9CFBD_12</vt:lpwstr>
  </property>
  <property fmtid="{D5CDD505-2E9C-101B-9397-08002B2CF9AE}" pid="4" name="KSOProductBuildVer">
    <vt:lpwstr>2052-11.1.0.14036</vt:lpwstr>
  </property>
</Properties>
</file>